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3.xml" ContentType="application/vnd.openxmlformats-officedocument.drawingml.chartshape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3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charts/chart8.xml" ContentType="application/vnd.openxmlformats-officedocument.drawingml.chart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498" r:id="rId2"/>
    <p:sldId id="602" r:id="rId3"/>
    <p:sldId id="405" r:id="rId4"/>
    <p:sldId id="606" r:id="rId5"/>
    <p:sldId id="456" r:id="rId6"/>
    <p:sldId id="607" r:id="rId7"/>
    <p:sldId id="596" r:id="rId8"/>
    <p:sldId id="474" r:id="rId9"/>
    <p:sldId id="611" r:id="rId10"/>
    <p:sldId id="597" r:id="rId11"/>
    <p:sldId id="440" r:id="rId12"/>
    <p:sldId id="595" r:id="rId13"/>
    <p:sldId id="376" r:id="rId14"/>
  </p:sldIdLst>
  <p:sldSz cx="9144000" cy="6858000" type="screen4x3"/>
  <p:notesSz cx="6761163" cy="9942513"/>
  <p:custDataLst>
    <p:tags r:id="rId1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D6580"/>
    <a:srgbClr val="A4C0B4"/>
    <a:srgbClr val="99B9AB"/>
    <a:srgbClr val="E2D6E6"/>
    <a:srgbClr val="EB695B"/>
    <a:srgbClr val="C4ACCC"/>
    <a:srgbClr val="958595"/>
    <a:srgbClr val="7C2D9F"/>
    <a:srgbClr val="339933"/>
    <a:srgbClr val="F096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756" autoAdjust="0"/>
    <p:restoredTop sz="96433" autoAdjust="0"/>
  </p:normalViewPr>
  <p:slideViewPr>
    <p:cSldViewPr>
      <p:cViewPr varScale="1">
        <p:scale>
          <a:sx n="113" d="100"/>
          <a:sy n="113" d="100"/>
        </p:scale>
        <p:origin x="1464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-840"/>
    </p:cViewPr>
  </p:sorterViewPr>
  <p:notesViewPr>
    <p:cSldViewPr>
      <p:cViewPr varScale="1">
        <p:scale>
          <a:sx n="74" d="100"/>
          <a:sy n="74" d="100"/>
        </p:scale>
        <p:origin x="1152" y="5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3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7"/>
      <c:rotY val="20"/>
      <c:rAngAx val="1"/>
    </c:view3D>
    <c:floor>
      <c:thickness val="0"/>
      <c:spPr>
        <a:noFill/>
        <a:ln w="9525">
          <a:noFill/>
        </a:ln>
      </c:spPr>
    </c:floor>
    <c:sideWall>
      <c:thickness val="0"/>
    </c:sideWall>
    <c:backWall>
      <c:thickness val="0"/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Безвозмездные поступления</c:v>
                </c:pt>
              </c:strCache>
            </c:strRef>
          </c:tx>
          <c:spPr>
            <a:solidFill>
              <a:srgbClr val="A5C4E9"/>
            </a:solidFill>
            <a:ln w="6350">
              <a:noFill/>
            </a:ln>
            <a:scene3d>
              <a:camera prst="orthographicFront"/>
              <a:lightRig rig="contrasting" dir="t"/>
            </a:scene3d>
            <a:sp3d prstMaterial="flat">
              <a:bevelT w="203200" h="203200"/>
            </a:sp3d>
          </c:spPr>
          <c:invertIfNegative val="0"/>
          <c:dLbls>
            <c:dLbl>
              <c:idx val="0"/>
              <c:layout>
                <c:manualLayout>
                  <c:x val="-2.1916988798630216E-3"/>
                  <c:y val="-5.714644038407050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104502176507997"/>
                      <c:h val="7.6932475783934987E-2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9.6485319131342645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1.1466658933321182E-2"/>
                  <c:y val="8.189476423447812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1.0873383349562466E-2"/>
                  <c:y val="1.671182191547561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7.3487679828356019E-3"/>
                  <c:y val="-3.491979870362339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8.5735072646249185E-3"/>
                  <c:y val="-2.79951257620405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ru-RU" sz="1600" b="1" i="0" u="none" strike="noStrike" kern="1200" baseline="0">
                    <a:ln>
                      <a:noFill/>
                    </a:ln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B$1:$G$1</c:f>
              <c:strCache>
                <c:ptCount val="6"/>
                <c:pt idx="0">
                  <c:v>2018 (первоначальный)</c:v>
                </c:pt>
                <c:pt idx="1">
                  <c:v>2018 (уточненный)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strCache>
            </c:strRef>
          </c:cat>
          <c:val>
            <c:numRef>
              <c:f>Лист1!$B$2:$G$2</c:f>
              <c:numCache>
                <c:formatCode>_-* #\ ##0.0_р_._-;\-* #\ ##0.0_р_._-;_-* "-"?_р_._-;_-@_-</c:formatCode>
                <c:ptCount val="6"/>
                <c:pt idx="0">
                  <c:v>1946.3</c:v>
                </c:pt>
                <c:pt idx="1">
                  <c:v>3169.1</c:v>
                </c:pt>
                <c:pt idx="2">
                  <c:v>2456.8000000000002</c:v>
                </c:pt>
                <c:pt idx="3">
                  <c:v>2564.9</c:v>
                </c:pt>
                <c:pt idx="4">
                  <c:v>1537.8</c:v>
                </c:pt>
                <c:pt idx="5">
                  <c:v>1560.1</c:v>
                </c:pt>
              </c:numCache>
            </c:numRef>
          </c:val>
        </c:ser>
        <c:ser>
          <c:idx val="1"/>
          <c:order val="1"/>
          <c:tx>
            <c:strRef>
              <c:f>Лист1!$A$3</c:f>
              <c:strCache>
                <c:ptCount val="1"/>
                <c:pt idx="0">
                  <c:v>Собственные доходы</c:v>
                </c:pt>
              </c:strCache>
            </c:strRef>
          </c:tx>
          <c:spPr>
            <a:solidFill>
              <a:srgbClr val="FFD85D"/>
            </a:solidFill>
          </c:spPr>
          <c:invertIfNegative val="0"/>
          <c:dLbls>
            <c:dLbl>
              <c:idx val="0"/>
              <c:layout>
                <c:manualLayout>
                  <c:x val="9.7982940167141968E-3"/>
                  <c:y val="-2.63723180644612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1.1023080768803517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1.2247867520892738E-2"/>
                  <c:y val="2.930257562717912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1.1023080768803529E-2"/>
                  <c:y val="-2.930257562717912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8.429414705555591E-3"/>
                  <c:y val="-1.845735483607793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6.872559159205701E-3"/>
                  <c:y val="-1.1294574159100085E-1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ru-RU" sz="1600" b="1" i="0" u="none" strike="noStrike" kern="1200" baseline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B$1:$G$1</c:f>
              <c:strCache>
                <c:ptCount val="6"/>
                <c:pt idx="0">
                  <c:v>2018 (первоначальный)</c:v>
                </c:pt>
                <c:pt idx="1">
                  <c:v>2018 (уточненный)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strCache>
            </c:strRef>
          </c:cat>
          <c:val>
            <c:numRef>
              <c:f>Лист1!$B$3:$G$3</c:f>
              <c:numCache>
                <c:formatCode>_-* #\ ##0.0_р_._-;\-* #\ ##0.0_р_._-;_-* "-"?_р_._-;_-@_-</c:formatCode>
                <c:ptCount val="6"/>
                <c:pt idx="0">
                  <c:v>882.7</c:v>
                </c:pt>
                <c:pt idx="1">
                  <c:v>953.2</c:v>
                </c:pt>
                <c:pt idx="2">
                  <c:v>987</c:v>
                </c:pt>
                <c:pt idx="3">
                  <c:v>1026.2</c:v>
                </c:pt>
                <c:pt idx="4">
                  <c:v>1034.8</c:v>
                </c:pt>
                <c:pt idx="5">
                  <c:v>1053.8</c:v>
                </c:pt>
              </c:numCache>
            </c:numRef>
          </c:val>
        </c:ser>
        <c:ser>
          <c:idx val="2"/>
          <c:order val="2"/>
          <c:tx>
            <c:strRef>
              <c:f>Лист1!$A$4</c:f>
              <c:strCache>
                <c:ptCount val="1"/>
                <c:pt idx="0">
                  <c:v>Всего доходов</c:v>
                </c:pt>
              </c:strCache>
            </c:strRef>
          </c:tx>
          <c:invertIfNegative val="0"/>
          <c:dLbls>
            <c:dLbl>
              <c:idx val="1"/>
              <c:layout>
                <c:manualLayout>
                  <c:x val="1.9958975146552342E-3"/>
                  <c:y val="-3.447267279547417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6.2187738944038421E-3"/>
                  <c:y val="7.261801522437953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9.6992899481756923E-3"/>
                  <c:y val="3.814320591370315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4.5119578216799442E-3"/>
                  <c:y val="-3.04367955775844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3.3704384153394719E-3"/>
                  <c:y val="-2.15625660316729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>
                    <a:latin typeface="Century Gothic" panose="020B0502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B$1:$G$1</c:f>
              <c:strCache>
                <c:ptCount val="6"/>
                <c:pt idx="0">
                  <c:v>2018 (первоначальный)</c:v>
                </c:pt>
                <c:pt idx="1">
                  <c:v>2018 (уточненный)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strCache>
            </c:strRef>
          </c:cat>
          <c:val>
            <c:numRef>
              <c:f>Лист1!$B$4:$G$4</c:f>
              <c:numCache>
                <c:formatCode>_-* #\ ##0.0_р_._-;\-* #\ ##0.0_р_._-;_-* "-"?_р_._-;_-@_-</c:formatCode>
                <c:ptCount val="6"/>
                <c:pt idx="0">
                  <c:v>2829</c:v>
                </c:pt>
                <c:pt idx="1">
                  <c:v>4122.3</c:v>
                </c:pt>
                <c:pt idx="2">
                  <c:v>3443.8</c:v>
                </c:pt>
                <c:pt idx="3">
                  <c:v>3591.1</c:v>
                </c:pt>
                <c:pt idx="4">
                  <c:v>2572.6</c:v>
                </c:pt>
                <c:pt idx="5">
                  <c:v>2613.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34"/>
        <c:gapDepth val="151"/>
        <c:shape val="cylinder"/>
        <c:axId val="2029311792"/>
        <c:axId val="2029306352"/>
        <c:axId val="0"/>
      </c:bar3DChart>
      <c:catAx>
        <c:axId val="2029311792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2029306352"/>
        <c:crosses val="autoZero"/>
        <c:auto val="1"/>
        <c:lblAlgn val="ctr"/>
        <c:lblOffset val="0"/>
        <c:noMultiLvlLbl val="0"/>
      </c:catAx>
      <c:valAx>
        <c:axId val="2029306352"/>
        <c:scaling>
          <c:orientation val="minMax"/>
          <c:max val="7000"/>
          <c:min val="1000"/>
        </c:scaling>
        <c:delete val="1"/>
        <c:axPos val="l"/>
        <c:numFmt formatCode="_-* #\ ##0.0_р_._-;\-* #\ ##0.0_р_._-;_-* &quot;-&quot;?_р_._-;_-@_-" sourceLinked="1"/>
        <c:majorTickMark val="out"/>
        <c:minorTickMark val="none"/>
        <c:tickLblPos val="nextTo"/>
        <c:crossAx val="2029311792"/>
        <c:crosses val="autoZero"/>
        <c:crossBetween val="between"/>
        <c:majorUnit val="1000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7"/>
      <c:rotY val="20"/>
      <c:rAngAx val="1"/>
    </c:view3D>
    <c:floor>
      <c:thickness val="0"/>
      <c:spPr>
        <a:noFill/>
        <a:ln w="9525">
          <a:noFill/>
        </a:ln>
      </c:spPr>
    </c:floor>
    <c:sideWall>
      <c:thickness val="0"/>
    </c:sideWall>
    <c:backWall>
      <c:thickness val="0"/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Собственные доходы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 w="6350">
              <a:noFill/>
            </a:ln>
            <a:scene3d>
              <a:camera prst="orthographicFront"/>
              <a:lightRig rig="contrasting" dir="t"/>
            </a:scene3d>
            <a:sp3d prstMaterial="flat">
              <a:bevelT w="203200" h="203200"/>
            </a:sp3d>
          </c:spPr>
          <c:invertIfNegative val="0"/>
          <c:dLbls>
            <c:dLbl>
              <c:idx val="0"/>
              <c:layout>
                <c:manualLayout>
                  <c:x val="1.4667085516577541E-2"/>
                  <c:y val="-3.001218070551887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104502176507997"/>
                      <c:h val="7.6932475783934987E-2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9.6485319131342645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8.8729928700732597E-3"/>
                  <c:y val="-2.664020806239649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1.2170216381186405E-2"/>
                  <c:y val="-6.697209601435206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7.3487679828356019E-3"/>
                  <c:y val="-3.491979870362339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8.5735072646249185E-3"/>
                  <c:y val="-2.79951257620405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ru-RU" sz="1600" b="1" i="0" u="none" strike="noStrike" kern="1200" baseline="0">
                    <a:ln>
                      <a:noFill/>
                    </a:ln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B$1:$G$1</c:f>
              <c:strCache>
                <c:ptCount val="6"/>
                <c:pt idx="0">
                  <c:v>2018 (первоначальный)</c:v>
                </c:pt>
                <c:pt idx="1">
                  <c:v>2018 (уточненный)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strCache>
            </c:strRef>
          </c:cat>
          <c:val>
            <c:numRef>
              <c:f>Лист1!$B$2:$G$2</c:f>
              <c:numCache>
                <c:formatCode>_-* #\ ##0.0_р_._-;\-* #\ ##0.0_р_._-;_-* "-"?_р_._-;_-@_-</c:formatCode>
                <c:ptCount val="6"/>
                <c:pt idx="0">
                  <c:v>923</c:v>
                </c:pt>
                <c:pt idx="1">
                  <c:v>1047.5</c:v>
                </c:pt>
                <c:pt idx="2">
                  <c:v>1059.5999999999999</c:v>
                </c:pt>
                <c:pt idx="3">
                  <c:v>1059.5</c:v>
                </c:pt>
                <c:pt idx="4">
                  <c:v>1038.3</c:v>
                </c:pt>
                <c:pt idx="5">
                  <c:v>1036.2</c:v>
                </c:pt>
              </c:numCache>
            </c:numRef>
          </c:val>
        </c:ser>
        <c:ser>
          <c:idx val="1"/>
          <c:order val="1"/>
          <c:tx>
            <c:strRef>
              <c:f>Лист1!$A$3</c:f>
              <c:strCache>
                <c:ptCount val="1"/>
                <c:pt idx="0">
                  <c:v>Всего доходов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dLbls>
            <c:dLbl>
              <c:idx val="0"/>
              <c:layout>
                <c:manualLayout>
                  <c:x val="9.7982940167141968E-3"/>
                  <c:y val="-2.63723180644612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1.1023080768803517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1.2247867520892738E-2"/>
                  <c:y val="2.930257562717912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1.1023080768803529E-2"/>
                  <c:y val="-2.930257562717912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1.1023080768803517E-2"/>
                  <c:y val="1.172103025087158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6.872559159205701E-3"/>
                  <c:y val="-1.1294574159100085E-1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ru-RU" sz="1600" b="1" i="0" u="none" strike="noStrike" kern="1200" baseline="0">
                    <a:ln>
                      <a:noFill/>
                    </a:ln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B$1:$G$1</c:f>
              <c:strCache>
                <c:ptCount val="6"/>
                <c:pt idx="0">
                  <c:v>2018 (первоначальный)</c:v>
                </c:pt>
                <c:pt idx="1">
                  <c:v>2018 (уточненный)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strCache>
            </c:strRef>
          </c:cat>
          <c:val>
            <c:numRef>
              <c:f>Лист1!$B$3:$G$3</c:f>
              <c:numCache>
                <c:formatCode>_-* #\ ##0.0_р_._-;\-* #\ ##0.0_р_._-;_-* "-"?_р_._-;_-@_-</c:formatCode>
                <c:ptCount val="6"/>
                <c:pt idx="0">
                  <c:v>2443.4</c:v>
                </c:pt>
                <c:pt idx="1">
                  <c:v>4356.5</c:v>
                </c:pt>
                <c:pt idx="2">
                  <c:v>3550.2</c:v>
                </c:pt>
                <c:pt idx="3">
                  <c:v>3589.1</c:v>
                </c:pt>
                <c:pt idx="4">
                  <c:v>2573.9</c:v>
                </c:pt>
                <c:pt idx="5">
                  <c:v>2596.300000000000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84"/>
        <c:gapDepth val="45"/>
        <c:shape val="cylinder"/>
        <c:axId val="2029310160"/>
        <c:axId val="2029314512"/>
        <c:axId val="0"/>
      </c:bar3DChart>
      <c:catAx>
        <c:axId val="2029310160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2029314512"/>
        <c:crosses val="autoZero"/>
        <c:auto val="1"/>
        <c:lblAlgn val="ctr"/>
        <c:lblOffset val="0"/>
        <c:noMultiLvlLbl val="0"/>
      </c:catAx>
      <c:valAx>
        <c:axId val="2029314512"/>
        <c:scaling>
          <c:orientation val="minMax"/>
          <c:max val="4500"/>
          <c:min val="500"/>
        </c:scaling>
        <c:delete val="1"/>
        <c:axPos val="l"/>
        <c:numFmt formatCode="_-* #\ ##0.0_р_._-;\-* #\ ##0.0_р_._-;_-* &quot;-&quot;?_р_._-;_-@_-" sourceLinked="1"/>
        <c:majorTickMark val="out"/>
        <c:minorTickMark val="none"/>
        <c:tickLblPos val="nextTo"/>
        <c:crossAx val="2029310160"/>
        <c:crosses val="autoZero"/>
        <c:crossBetween val="between"/>
        <c:majorUnit val="1000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1.8914005220741215E-2"/>
          <c:y val="5.7064289437265228E-2"/>
          <c:w val="0.92720718674014035"/>
          <c:h val="0.93025475735445362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explosion val="12"/>
            <c:spPr>
              <a:solidFill>
                <a:schemeClr val="accent1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</c:dPt>
          <c:dPt>
            <c:idx val="1"/>
            <c:bubble3D val="0"/>
            <c:explosion val="53"/>
            <c:spPr>
              <a:solidFill>
                <a:schemeClr val="accent2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</c:dPt>
          <c:dPt>
            <c:idx val="2"/>
            <c:bubble3D val="0"/>
            <c:explosion val="33"/>
            <c:spPr>
              <a:solidFill>
                <a:schemeClr val="accent3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numRef>
              <c:f>Лист1!$A$2:$A$4</c:f>
              <c:numCache>
                <c:formatCode>General</c:formatCode>
                <c:ptCount val="3"/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1">
                  <c:v>3.8</c:v>
                </c:pt>
                <c:pt idx="2">
                  <c:v>6.8</c:v>
                </c:pt>
              </c:numCache>
            </c:numRef>
          </c:val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49041132063667953"/>
          <c:h val="0.70165559114974052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</c:dPt>
          <c:dPt>
            <c:idx val="1"/>
            <c:bubble3D val="0"/>
            <c:explosion val="14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</c:dPt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16614.080000000002</c:v>
                </c:pt>
                <c:pt idx="1">
                  <c:v>695333.0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633874920972575E-2"/>
          <c:y val="3.5781905062435691E-2"/>
          <c:w val="0.83320320496214806"/>
          <c:h val="0.715589435808747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FFFF00"/>
            </a:solidFill>
            <a:ln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 prstMaterial="flat">
              <a:bevelT w="25400" h="330200"/>
              <a:bevelB/>
              <a:contourClr>
                <a:srgbClr val="000000"/>
              </a:contourClr>
            </a:sp3d>
          </c:spPr>
          <c:explosion val="10"/>
          <c:dPt>
            <c:idx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  <a:scene3d>
                <a:camera prst="orthographicFront"/>
                <a:lightRig rig="threePt" dir="t"/>
              </a:scene3d>
              <a:sp3d prstMaterial="flat">
                <a:bevelT w="25400" h="330200"/>
                <a:bevelB/>
                <a:contourClr>
                  <a:srgbClr val="000000"/>
                </a:contourClr>
              </a:sp3d>
            </c:spPr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  <a:scene3d>
                <a:camera prst="orthographicFront"/>
                <a:lightRig rig="threePt" dir="t"/>
              </a:scene3d>
              <a:sp3d prstMaterial="flat">
                <a:bevelT w="25400" h="330200"/>
                <a:bevelB/>
                <a:contourClr>
                  <a:srgbClr val="000000"/>
                </a:contourClr>
              </a:sp3d>
            </c:spPr>
          </c:dPt>
          <c:dLbls>
            <c:dLbl>
              <c:idx val="0"/>
              <c:layout>
                <c:manualLayout>
                  <c:x val="-4.1616957324575057E-2"/>
                  <c:y val="1.76948424170364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267752925413606"/>
                      <c:h val="0.10183093421526181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8.0365542964686476E-4"/>
                  <c:y val="5.547551454093718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ru-RU" sz="1400" b="1" i="0" u="none" strike="noStrike" kern="1200" baseline="0" dirty="0" smtClean="0">
                    <a:ln>
                      <a:noFill/>
                    </a:ln>
                    <a:solidFill>
                      <a:schemeClr val="tx1"/>
                    </a:solidFill>
                    <a:latin typeface="Century Gothic" panose="020B0502020202020204" pitchFamily="34" charset="0"/>
                    <a:ea typeface="Tahoma" pitchFamily="34" charset="0"/>
                    <a:cs typeface="Tahoma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4</c:f>
              <c:strCache>
                <c:ptCount val="3"/>
                <c:pt idx="0">
                  <c:v>Количество участников от общего числа поселений
</c:v>
                </c:pt>
                <c:pt idx="1">
                  <c:v>Количество победителей от числа участников</c:v>
                </c:pt>
                <c:pt idx="2">
                  <c:v>Категория 3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 formatCode="0.0">
                  <c:v>15</c:v>
                </c:pt>
                <c:pt idx="1">
                  <c:v>2.1</c:v>
                </c:pt>
                <c:pt idx="2">
                  <c:v>6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50"/>
        <c:holeSize val="50"/>
      </c:doughnutChart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633874920972575E-2"/>
          <c:y val="3.5781905062435691E-2"/>
          <c:w val="0.83320320496214806"/>
          <c:h val="0.715589435808747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FFFF00"/>
            </a:solidFill>
            <a:ln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 prstMaterial="flat">
              <a:bevelT w="25400" h="330200"/>
              <a:bevelB/>
              <a:contourClr>
                <a:srgbClr val="000000"/>
              </a:contourClr>
            </a:sp3d>
          </c:spPr>
          <c:explosion val="10"/>
          <c:dPt>
            <c:idx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  <a:scene3d>
                <a:camera prst="orthographicFront"/>
                <a:lightRig rig="threePt" dir="t"/>
              </a:scene3d>
              <a:sp3d prstMaterial="flat">
                <a:bevelT w="25400" h="330200"/>
                <a:bevelB/>
                <a:contourClr>
                  <a:srgbClr val="000000"/>
                </a:contourClr>
              </a:sp3d>
            </c:spPr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  <a:scene3d>
                <a:camera prst="orthographicFront"/>
                <a:lightRig rig="threePt" dir="t"/>
              </a:scene3d>
              <a:sp3d prstMaterial="flat">
                <a:bevelT w="25400" h="330200"/>
                <a:bevelB/>
                <a:contourClr>
                  <a:srgbClr val="000000"/>
                </a:contourClr>
              </a:sp3d>
            </c:spPr>
          </c:dPt>
          <c:dLbls>
            <c:dLbl>
              <c:idx val="0"/>
              <c:layout>
                <c:manualLayout>
                  <c:x val="-4.1616957324575057E-2"/>
                  <c:y val="1.769484241703640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lang="ru-RU" sz="1400" b="1" i="0" u="none" strike="noStrike" kern="120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latin typeface="Century Gothic" panose="020B0502020202020204" pitchFamily="34" charset="0"/>
                      <a:ea typeface="Tahoma" pitchFamily="34" charset="0"/>
                      <a:cs typeface="Tahoma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267752925413606"/>
                      <c:h val="0.10183093421526181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8.0365542964686476E-4"/>
                  <c:y val="5.547551454093718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ru-RU" sz="1600" b="1" i="0" u="none" strike="noStrike" kern="1200" baseline="0" dirty="0" smtClean="0">
                    <a:ln>
                      <a:noFill/>
                    </a:ln>
                    <a:solidFill>
                      <a:schemeClr val="tx1"/>
                    </a:solidFill>
                    <a:latin typeface="Century Gothic" panose="020B0502020202020204" pitchFamily="34" charset="0"/>
                    <a:ea typeface="Tahoma" pitchFamily="34" charset="0"/>
                    <a:cs typeface="Tahoma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4</c:f>
              <c:strCache>
                <c:ptCount val="3"/>
                <c:pt idx="0">
                  <c:v>Количество участников от общего числа поселений
</c:v>
                </c:pt>
                <c:pt idx="1">
                  <c:v>Количество победителей от числа участников</c:v>
                </c:pt>
                <c:pt idx="2">
                  <c:v>Категория 3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 formatCode="0.0">
                  <c:v>15</c:v>
                </c:pt>
                <c:pt idx="1">
                  <c:v>8.3000000000000007</c:v>
                </c:pt>
                <c:pt idx="2">
                  <c:v>4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50"/>
        <c:holeSize val="50"/>
      </c:doughnutChart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633874920972575E-2"/>
          <c:y val="3.5781905062435691E-2"/>
          <c:w val="0.83320320496214806"/>
          <c:h val="0.715589435808747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FFFF00"/>
            </a:solidFill>
            <a:ln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 prstMaterial="flat">
              <a:bevelT w="25400" h="330200"/>
              <a:bevelB/>
              <a:contourClr>
                <a:srgbClr val="000000"/>
              </a:contourClr>
            </a:sp3d>
          </c:spPr>
          <c:explosion val="10"/>
          <c:dPt>
            <c:idx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  <a:scene3d>
                <a:camera prst="orthographicFront"/>
                <a:lightRig rig="threePt" dir="t"/>
              </a:scene3d>
              <a:sp3d prstMaterial="flat">
                <a:bevelT w="25400" h="330200"/>
                <a:bevelB/>
                <a:contourClr>
                  <a:srgbClr val="000000"/>
                </a:contourClr>
              </a:sp3d>
            </c:spPr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>
                <a:solidFill>
                  <a:schemeClr val="bg1"/>
                </a:solidFill>
              </a:ln>
              <a:scene3d>
                <a:camera prst="orthographicFront"/>
                <a:lightRig rig="threePt" dir="t"/>
              </a:scene3d>
              <a:sp3d prstMaterial="flat">
                <a:bevelT w="25400" h="330200"/>
                <a:bevelB/>
                <a:contourClr>
                  <a:srgbClr val="000000"/>
                </a:contourClr>
              </a:sp3d>
            </c:spPr>
          </c:dPt>
          <c:dLbls>
            <c:dLbl>
              <c:idx val="0"/>
              <c:layout>
                <c:manualLayout>
                  <c:x val="-4.1616957324575057E-2"/>
                  <c:y val="1.769484241703640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lang="ru-RU" sz="1400" b="1" i="0" u="none" strike="noStrike" kern="1200" baseline="0" dirty="0" smtClean="0">
                      <a:ln>
                        <a:noFill/>
                      </a:ln>
                      <a:solidFill>
                        <a:schemeClr val="tx1"/>
                      </a:solidFill>
                      <a:latin typeface="Century Gothic" panose="020B0502020202020204" pitchFamily="34" charset="0"/>
                      <a:ea typeface="Tahoma" pitchFamily="34" charset="0"/>
                      <a:cs typeface="Tahoma" pitchFamily="34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267752925413606"/>
                      <c:h val="0.10183093421526181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8.0365542964686476E-4"/>
                  <c:y val="5.547551454093718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ru-RU" sz="1600" b="1" i="0" u="none" strike="noStrike" kern="1200" baseline="0" dirty="0" smtClean="0">
                    <a:ln>
                      <a:noFill/>
                    </a:ln>
                    <a:solidFill>
                      <a:schemeClr val="tx1"/>
                    </a:solidFill>
                    <a:latin typeface="Century Gothic" panose="020B0502020202020204" pitchFamily="34" charset="0"/>
                    <a:ea typeface="Tahoma" pitchFamily="34" charset="0"/>
                    <a:cs typeface="Tahoma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4</c:f>
              <c:strCache>
                <c:ptCount val="3"/>
                <c:pt idx="0">
                  <c:v>Количество участников от общего числа поселений
</c:v>
                </c:pt>
                <c:pt idx="1">
                  <c:v>Количество победителей от числа участников</c:v>
                </c:pt>
                <c:pt idx="2">
                  <c:v>Категория 3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 formatCode="0.0">
                  <c:v>15</c:v>
                </c:pt>
                <c:pt idx="1">
                  <c:v>8.3000000000000007</c:v>
                </c:pt>
                <c:pt idx="2">
                  <c:v>4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50"/>
        <c:holeSize val="50"/>
      </c:doughnutChart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966958087278051E-2"/>
          <c:y val="7.5203418505041822E-2"/>
          <c:w val="0.95752561206401698"/>
          <c:h val="0.73948263365760003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Объем госдолга</c:v>
                </c:pt>
              </c:strCache>
            </c:strRef>
          </c:tx>
          <c:spPr>
            <a:ln w="76200">
              <a:solidFill>
                <a:srgbClr val="CC5350"/>
              </a:solidFill>
            </a:ln>
          </c:spPr>
          <c:marker>
            <c:symbol val="circle"/>
            <c:size val="45"/>
            <c:spPr>
              <a:solidFill>
                <a:srgbClr val="CC5350"/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marker>
          <c:dLbls>
            <c:dLbl>
              <c:idx val="0"/>
              <c:layout>
                <c:manualLayout>
                  <c:x val="-7.317444310556187E-2"/>
                  <c:y val="-2.1316983766800491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7.4681872954287132E-2"/>
                  <c:y val="-2.1315305396296842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7.4681872954287132E-2"/>
                  <c:y val="-2.1315305396296842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7.6189302803012393E-2"/>
                  <c:y val="0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7.4681872954287284E-2"/>
                  <c:y val="-4.2630610792593823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anchorCtr="0"/>
              <a:lstStyle/>
              <a:p>
                <a:pPr algn="ctr">
                  <a:defRPr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7</c:f>
              <c:strCache>
                <c:ptCount val="6"/>
                <c:pt idx="0">
                  <c:v>2018
(отчет)</c:v>
                </c:pt>
                <c:pt idx="1">
                  <c:v>2019
(отчет)</c:v>
                </c:pt>
                <c:pt idx="2">
                  <c:v>2020
(оценка)</c:v>
                </c:pt>
                <c:pt idx="3">
                  <c:v>2021
проект</c:v>
                </c:pt>
                <c:pt idx="4">
                  <c:v>2022
проект</c:v>
                </c:pt>
                <c:pt idx="5">
                  <c:v>2023  проект</c:v>
                </c:pt>
              </c:strCache>
            </c:strRef>
          </c:cat>
          <c:val>
            <c:numRef>
              <c:f>Лист1!$B$2:$B$7</c:f>
              <c:numCache>
                <c:formatCode>_-* #\ ##0.0_р_._-;\-* #\ ##0.0_р_._-;_-* "-"?_р_._-;_-@_-</c:formatCode>
                <c:ptCount val="6"/>
                <c:pt idx="0">
                  <c:v>35.119999999999997</c:v>
                </c:pt>
                <c:pt idx="1">
                  <c:v>35.700000000000003</c:v>
                </c:pt>
                <c:pt idx="2">
                  <c:v>31.5</c:v>
                </c:pt>
                <c:pt idx="3">
                  <c:v>30.1</c:v>
                </c:pt>
                <c:pt idx="4">
                  <c:v>30</c:v>
                </c:pt>
                <c:pt idx="5">
                  <c:v>27.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29310704"/>
        <c:axId val="2029304720"/>
        <c:extLst>
          <c:ext xmlns:c15="http://schemas.microsoft.com/office/drawing/2012/chart" uri="{02D57815-91ED-43cb-92C2-25804820EDAC}">
            <c15:filteredLine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Лист1!$C$1</c15:sqref>
                        </c15:formulaRef>
                      </c:ext>
                    </c:extLst>
                    <c:strCache>
                      <c:ptCount val="1"/>
                      <c:pt idx="0">
                        <c:v>Объем налоговых и неналоговых доходов
</c:v>
                      </c:pt>
                    </c:strCache>
                  </c:strRef>
                </c:tx>
                <c:cat>
                  <c:strRef>
                    <c:extLst>
                      <c:ext uri="{02D57815-91ED-43cb-92C2-25804820EDAC}">
                        <c15:formulaRef>
                          <c15:sqref>Лист1!$A$2:$A$7</c15:sqref>
                        </c15:formulaRef>
                      </c:ext>
                    </c:extLst>
                    <c:strCache>
                      <c:ptCount val="6"/>
                      <c:pt idx="0">
                        <c:v>2018
(отчет)</c:v>
                      </c:pt>
                      <c:pt idx="1">
                        <c:v>2019
(отчет)</c:v>
                      </c:pt>
                      <c:pt idx="2">
                        <c:v>2020
(оценка)</c:v>
                      </c:pt>
                      <c:pt idx="3">
                        <c:v>2021
проект</c:v>
                      </c:pt>
                      <c:pt idx="4">
                        <c:v>2022
проект</c:v>
                      </c:pt>
                      <c:pt idx="5">
                        <c:v>2023  проект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Лист1!$C$2:$C$7</c15:sqref>
                        </c15:formulaRef>
                      </c:ext>
                    </c:extLst>
                    <c:numCache>
                      <c:formatCode>_-* #\ ##0.0_р_._-;\-* #\ ##0.0_р_._-;_-* "-"?_р_._-;_-@_-</c:formatCode>
                      <c:ptCount val="6"/>
                      <c:pt idx="0">
                        <c:v>882.7</c:v>
                      </c:pt>
                      <c:pt idx="1">
                        <c:v>953.2</c:v>
                      </c:pt>
                      <c:pt idx="2">
                        <c:v>987</c:v>
                      </c:pt>
                      <c:pt idx="3">
                        <c:v>1026.2</c:v>
                      </c:pt>
                      <c:pt idx="4">
                        <c:v>1034.8</c:v>
                      </c:pt>
                      <c:pt idx="5">
                        <c:v>1053.8</c:v>
                      </c:pt>
                    </c:numCache>
                  </c:numRef>
                </c:val>
                <c:smooth val="0"/>
              </c15:ser>
            </c15:filteredLineSeries>
            <c15:filteredLine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1!$D$1</c15:sqref>
                        </c15:formulaRef>
                      </c:ext>
                    </c:extLst>
                    <c:strCache>
                      <c:ptCount val="1"/>
                      <c:pt idx="0">
                        <c:v>Удельный вес госдолга в объёме
 налоговых и неналоговых доходов</c:v>
                      </c:pt>
                    </c:strCache>
                  </c:strRef>
                </c:tx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1!$A$2:$A$7</c15:sqref>
                        </c15:formulaRef>
                      </c:ext>
                    </c:extLst>
                    <c:strCache>
                      <c:ptCount val="6"/>
                      <c:pt idx="0">
                        <c:v>2018
(отчет)</c:v>
                      </c:pt>
                      <c:pt idx="1">
                        <c:v>2019
(отчет)</c:v>
                      </c:pt>
                      <c:pt idx="2">
                        <c:v>2020
(оценка)</c:v>
                      </c:pt>
                      <c:pt idx="3">
                        <c:v>2021
проект</c:v>
                      </c:pt>
                      <c:pt idx="4">
                        <c:v>2022
проект</c:v>
                      </c:pt>
                      <c:pt idx="5">
                        <c:v>2023  проект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Лист1!$D$2:$D$7</c15:sqref>
                        </c15:formulaRef>
                      </c:ext>
                    </c:extLst>
                    <c:numCache>
                      <c:formatCode>0.0</c:formatCode>
                      <c:ptCount val="6"/>
                      <c:pt idx="0">
                        <c:v>40.799999999999997</c:v>
                      </c:pt>
                      <c:pt idx="1">
                        <c:v>45.6</c:v>
                      </c:pt>
                      <c:pt idx="2">
                        <c:v>44.7</c:v>
                      </c:pt>
                      <c:pt idx="3">
                        <c:v>41.7</c:v>
                      </c:pt>
                      <c:pt idx="4">
                        <c:v>37.200000000000003</c:v>
                      </c:pt>
                    </c:numCache>
                  </c:numRef>
                </c:val>
                <c:smooth val="0"/>
              </c15:ser>
            </c15:filteredLineSeries>
          </c:ext>
        </c:extLst>
      </c:lineChart>
      <c:catAx>
        <c:axId val="20293107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lnSpc>
                <a:spcPts val="1600"/>
              </a:lnSpc>
              <a:defRPr sz="1800" b="1">
                <a:solidFill>
                  <a:schemeClr val="tx1"/>
                </a:solidFill>
                <a:latin typeface="Century Gothic" panose="020B0502020202020204" pitchFamily="34" charset="0"/>
                <a:cs typeface="Times New Roman" pitchFamily="18" charset="0"/>
              </a:defRPr>
            </a:pPr>
            <a:endParaRPr lang="ru-RU"/>
          </a:p>
        </c:txPr>
        <c:crossAx val="2029304720"/>
        <c:crosses val="autoZero"/>
        <c:auto val="1"/>
        <c:lblAlgn val="ctr"/>
        <c:lblOffset val="500"/>
        <c:noMultiLvlLbl val="0"/>
      </c:catAx>
      <c:valAx>
        <c:axId val="2029304720"/>
        <c:scaling>
          <c:orientation val="minMax"/>
          <c:max val="100"/>
        </c:scaling>
        <c:delete val="1"/>
        <c:axPos val="l"/>
        <c:numFmt formatCode="_-* #\ ##0.0_р_._-;\-* #\ ##0.0_р_._-;_-* &quot;-&quot;?_р_._-;_-@_-" sourceLinked="1"/>
        <c:majorTickMark val="out"/>
        <c:minorTickMark val="none"/>
        <c:tickLblPos val="nextTo"/>
        <c:crossAx val="202931070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A69E9CE-641F-4FFD-AF1C-3D549897C626}" type="doc">
      <dgm:prSet loTypeId="urn:microsoft.com/office/officeart/2005/8/layout/equation1" loCatId="relationship" qsTypeId="urn:microsoft.com/office/officeart/2005/8/quickstyle/3d2" qsCatId="3D" csTypeId="urn:microsoft.com/office/officeart/2005/8/colors/colorful2" csCatId="colorful" phldr="1"/>
      <dgm:spPr/>
      <dgm:t>
        <a:bodyPr/>
        <a:lstStyle/>
        <a:p>
          <a:endParaRPr lang="ru-RU"/>
        </a:p>
      </dgm:t>
    </dgm:pt>
    <dgm:pt modelId="{F3F7E56E-456E-474A-BF8E-B7BF8764FDD4}" type="pres">
      <dgm:prSet presAssocID="{8A69E9CE-641F-4FFD-AF1C-3D549897C626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</dgm:ptLst>
  <dgm:cxnLst>
    <dgm:cxn modelId="{E060A3CD-B9D9-4C70-B728-782D80814215}" type="presOf" srcId="{8A69E9CE-641F-4FFD-AF1C-3D549897C626}" destId="{F3F7E56E-456E-474A-BF8E-B7BF8764FDD4}" srcOrd="0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relId="rId1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7966</cdr:x>
      <cdr:y>0.52439</cdr:y>
    </cdr:from>
    <cdr:to>
      <cdr:x>0.38813</cdr:x>
      <cdr:y>0.68049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2357454" y="3071834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7966</cdr:x>
      <cdr:y>0.52439</cdr:y>
    </cdr:from>
    <cdr:to>
      <cdr:x>0.38813</cdr:x>
      <cdr:y>0.68049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2357454" y="3071834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228</cdr:x>
      <cdr:y>0.9554</cdr:y>
    </cdr:from>
    <cdr:to>
      <cdr:x>0.24609</cdr:x>
      <cdr:y>0.9554</cdr:y>
    </cdr:to>
    <cdr:cxnSp macro="">
      <cdr:nvCxnSpPr>
        <cdr:cNvPr id="2" name="Прямая соединительная линия 1"/>
        <cdr:cNvCxnSpPr/>
      </cdr:nvCxnSpPr>
      <cdr:spPr>
        <a:xfrm xmlns:a="http://schemas.openxmlformats.org/drawingml/2006/main" flipH="1">
          <a:off x="742773" y="4296413"/>
          <a:ext cx="745731" cy="0"/>
        </a:xfrm>
        <a:prstGeom xmlns:a="http://schemas.openxmlformats.org/drawingml/2006/main" prst="line">
          <a:avLst/>
        </a:prstGeom>
        <a:ln xmlns:a="http://schemas.openxmlformats.org/drawingml/2006/main" w="82550" cap="rnd">
          <a:solidFill>
            <a:schemeClr val="accent2">
              <a:lumMod val="75000"/>
            </a:schemeClr>
          </a:solidFill>
          <a:prstDash val="sysDot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5904</cdr:x>
      <cdr:y>0.88783</cdr:y>
    </cdr:from>
    <cdr:to>
      <cdr:x>0.45436</cdr:x>
      <cdr:y>1</cdr:y>
    </cdr:to>
    <cdr:sp macro="" textlink="">
      <cdr:nvSpPr>
        <cdr:cNvPr id="9" name="Скругленный прямоугольник 8"/>
        <cdr:cNvSpPr/>
      </cdr:nvSpPr>
      <cdr:spPr>
        <a:xfrm xmlns:a="http://schemas.openxmlformats.org/drawingml/2006/main">
          <a:off x="1566871" y="4325918"/>
          <a:ext cx="1181381" cy="546559"/>
        </a:xfrm>
        <a:prstGeom xmlns:a="http://schemas.openxmlformats.org/drawingml/2006/main" prst="roundRect">
          <a:avLst>
            <a:gd name="adj" fmla="val 50000"/>
          </a:avLst>
        </a:prstGeom>
        <a:solidFill xmlns:a="http://schemas.openxmlformats.org/drawingml/2006/main">
          <a:schemeClr val="accent2">
            <a:lumMod val="75000"/>
            <a:alpha val="80000"/>
          </a:schemeClr>
        </a:solidFill>
        <a:ln xmlns:a="http://schemas.openxmlformats.org/drawingml/2006/main">
          <a:solidFill>
            <a:schemeClr val="accent2">
              <a:lumMod val="75000"/>
            </a:schemeClr>
          </a:solidFill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  <a:scene3d xmlns:a="http://schemas.openxmlformats.org/drawingml/2006/main">
          <a:camera prst="orthographicFront"/>
          <a:lightRig rig="threePt" dir="t"/>
        </a:scene3d>
        <a:sp3d xmlns:a="http://schemas.openxmlformats.org/drawingml/2006/main" prstMaterial="flat">
          <a:bevelT w="203200" h="203200"/>
        </a:sp3d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144000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tabLst>
              <a:tab pos="542925" algn="l"/>
            </a:tabLst>
            <a:defRPr/>
          </a:pPr>
          <a:r>
            <a:rPr lang="ru-RU" sz="1400" b="1" dirty="0" smtClean="0">
              <a:solidFill>
                <a:schemeClr val="tx1"/>
              </a:solidFill>
              <a:latin typeface="Century Gothic" panose="020B0502020202020204" pitchFamily="34" charset="0"/>
              <a:ea typeface="Tahoma" pitchFamily="34" charset="0"/>
              <a:cs typeface="Tahoma" pitchFamily="34" charset="0"/>
            </a:rPr>
            <a:t>695333,03</a:t>
          </a:r>
          <a:endParaRPr lang="ru-RU" sz="1400" b="1" dirty="0">
            <a:solidFill>
              <a:schemeClr val="tx1"/>
            </a:solidFill>
            <a:latin typeface="Century Gothic" panose="020B0502020202020204" pitchFamily="34" charset="0"/>
            <a:ea typeface="Tahoma" pitchFamily="34" charset="0"/>
            <a:cs typeface="Tahoma" pitchFamily="34" charset="0"/>
          </a:endParaRPr>
        </a:p>
      </cdr:txBody>
    </cdr:sp>
  </cdr:relSizeAnchor>
  <cdr:relSizeAnchor xmlns:cdr="http://schemas.openxmlformats.org/drawingml/2006/chartDrawing">
    <cdr:from>
      <cdr:x>0.18105</cdr:x>
      <cdr:y>0.71248</cdr:y>
    </cdr:from>
    <cdr:to>
      <cdr:x>0.44612</cdr:x>
      <cdr:y>0.83565</cdr:y>
    </cdr:to>
    <cdr:sp macro="" textlink="">
      <cdr:nvSpPr>
        <cdr:cNvPr id="10" name="TextBox 22"/>
        <cdr:cNvSpPr txBox="1"/>
      </cdr:nvSpPr>
      <cdr:spPr>
        <a:xfrm xmlns:a="http://schemas.openxmlformats.org/drawingml/2006/main">
          <a:off x="1095112" y="3471542"/>
          <a:ext cx="1603324" cy="60016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100" b="1" dirty="0" smtClean="0">
              <a:latin typeface="Century Gothic" panose="020B0502020202020204" pitchFamily="34" charset="0"/>
            </a:rPr>
            <a:t>Средства </a:t>
          </a:r>
        </a:p>
        <a:p xmlns:a="http://schemas.openxmlformats.org/drawingml/2006/main">
          <a:r>
            <a:rPr lang="ru-RU" sz="1100" b="1" dirty="0" smtClean="0">
              <a:latin typeface="Century Gothic" panose="020B0502020202020204" pitchFamily="34" charset="0"/>
            </a:rPr>
            <a:t>федерального и </a:t>
          </a:r>
        </a:p>
        <a:p xmlns:a="http://schemas.openxmlformats.org/drawingml/2006/main">
          <a:r>
            <a:rPr lang="ru-RU" sz="1100" b="1" dirty="0" smtClean="0">
              <a:latin typeface="Century Gothic" panose="020B0502020202020204" pitchFamily="34" charset="0"/>
            </a:rPr>
            <a:t>краевого бюджета </a:t>
          </a:r>
          <a:endParaRPr lang="ru-RU" sz="1100" b="1" dirty="0">
            <a:latin typeface="Century Gothic" panose="020B0502020202020204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" y="5"/>
            <a:ext cx="2929837" cy="497125"/>
          </a:xfrm>
          <a:prstGeom prst="rect">
            <a:avLst/>
          </a:prstGeom>
        </p:spPr>
        <p:txBody>
          <a:bodyPr vert="horz" lIns="91404" tIns="45702" rIns="91404" bIns="4570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5" y="5"/>
            <a:ext cx="2929837" cy="497125"/>
          </a:xfrm>
          <a:prstGeom prst="rect">
            <a:avLst/>
          </a:prstGeom>
        </p:spPr>
        <p:txBody>
          <a:bodyPr vert="horz" lIns="91404" tIns="45702" rIns="91404" bIns="45702" rtlCol="0"/>
          <a:lstStyle>
            <a:lvl1pPr algn="r">
              <a:defRPr sz="1200"/>
            </a:lvl1pPr>
          </a:lstStyle>
          <a:p>
            <a:fld id="{0A2A0A7E-778A-499B-A027-457984D7CA53}" type="datetimeFigureOut">
              <a:rPr lang="ru-RU" smtClean="0"/>
              <a:pPr/>
              <a:t>12.03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96938" y="746125"/>
            <a:ext cx="4967287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4" tIns="45702" rIns="91404" bIns="45702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22698"/>
            <a:ext cx="5408930" cy="4474131"/>
          </a:xfrm>
          <a:prstGeom prst="rect">
            <a:avLst/>
          </a:prstGeom>
        </p:spPr>
        <p:txBody>
          <a:bodyPr vert="horz" lIns="91404" tIns="45702" rIns="91404" bIns="45702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5" y="9443666"/>
            <a:ext cx="2929837" cy="497125"/>
          </a:xfrm>
          <a:prstGeom prst="rect">
            <a:avLst/>
          </a:prstGeom>
        </p:spPr>
        <p:txBody>
          <a:bodyPr vert="horz" lIns="91404" tIns="45702" rIns="91404" bIns="4570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5" y="9443666"/>
            <a:ext cx="2929837" cy="497125"/>
          </a:xfrm>
          <a:prstGeom prst="rect">
            <a:avLst/>
          </a:prstGeom>
        </p:spPr>
        <p:txBody>
          <a:bodyPr vert="horz" lIns="91404" tIns="45702" rIns="91404" bIns="45702" rtlCol="0" anchor="b"/>
          <a:lstStyle>
            <a:lvl1pPr algn="r">
              <a:defRPr sz="1200"/>
            </a:lvl1pPr>
          </a:lstStyle>
          <a:p>
            <a:fld id="{017A21CA-4932-4C93-B415-9B922AAFE24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94208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7A21CA-4932-4C93-B415-9B922AAFE249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58836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7A21CA-4932-4C93-B415-9B922AAFE249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918608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7A21CA-4932-4C93-B415-9B922AAFE249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27026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7A21CA-4932-4C93-B415-9B922AAFE249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58543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кругленный прямоугольник 7"/>
          <p:cNvSpPr/>
          <p:nvPr userDrawn="1"/>
        </p:nvSpPr>
        <p:spPr>
          <a:xfrm>
            <a:off x="467544" y="332656"/>
            <a:ext cx="8424936" cy="6264696"/>
          </a:xfrm>
          <a:prstGeom prst="roundRect">
            <a:avLst/>
          </a:prstGeom>
          <a:noFill/>
          <a:ln w="952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395536" y="3281617"/>
            <a:ext cx="3726036" cy="2955695"/>
            <a:chOff x="1566679" y="2060848"/>
            <a:chExt cx="3726036" cy="2955695"/>
          </a:xfrm>
        </p:grpSpPr>
        <p:pic>
          <p:nvPicPr>
            <p:cNvPr id="10" name="Picture 6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566679" y="3573016"/>
              <a:ext cx="1853192" cy="1443527"/>
            </a:xfrm>
            <a:prstGeom prst="round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1" name="Picture 7"/>
            <p:cNvPicPr>
              <a:picLocks noChangeAspect="1" noChangeArrowheads="1"/>
            </p:cNvPicPr>
            <p:nvPr/>
          </p:nvPicPr>
          <p:blipFill>
            <a:blip r:embed="rId3" cstate="print"/>
            <a:stretch>
              <a:fillRect/>
            </a:stretch>
          </p:blipFill>
          <p:spPr bwMode="auto">
            <a:xfrm>
              <a:off x="1566679" y="2060848"/>
              <a:ext cx="1853828" cy="1442328"/>
            </a:xfrm>
            <a:prstGeom prst="roundRect">
              <a:avLst/>
            </a:prstGeom>
            <a:noFill/>
            <a:ln>
              <a:noFill/>
            </a:ln>
          </p:spPr>
        </p:pic>
        <p:pic>
          <p:nvPicPr>
            <p:cNvPr id="12" name="Picture 8"/>
            <p:cNvPicPr>
              <a:picLocks noChangeAspect="1" noChangeArrowheads="1"/>
            </p:cNvPicPr>
            <p:nvPr/>
          </p:nvPicPr>
          <p:blipFill>
            <a:blip r:embed="rId4" cstate="print"/>
            <a:stretch>
              <a:fillRect/>
            </a:stretch>
          </p:blipFill>
          <p:spPr bwMode="auto">
            <a:xfrm>
              <a:off x="3438887" y="2060848"/>
              <a:ext cx="1853828" cy="1442328"/>
            </a:xfrm>
            <a:prstGeom prst="roundRect">
              <a:avLst/>
            </a:prstGeom>
            <a:noFill/>
            <a:ln>
              <a:noFill/>
            </a:ln>
          </p:spPr>
        </p:pic>
        <p:pic>
          <p:nvPicPr>
            <p:cNvPr id="13" name="Picture 9"/>
            <p:cNvPicPr>
              <a:picLocks noChangeAspect="1" noChangeArrowheads="1"/>
            </p:cNvPicPr>
            <p:nvPr/>
          </p:nvPicPr>
          <p:blipFill>
            <a:blip r:embed="rId5" cstate="print">
              <a:lum bright="4000"/>
            </a:blip>
            <a:srcRect/>
            <a:stretch>
              <a:fillRect/>
            </a:stretch>
          </p:blipFill>
          <p:spPr bwMode="auto">
            <a:xfrm>
              <a:off x="3438887" y="3573016"/>
              <a:ext cx="1853193" cy="1441200"/>
            </a:xfrm>
            <a:prstGeom prst="round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cxnSp>
        <p:nvCxnSpPr>
          <p:cNvPr id="14" name="Прямая соединительная линия 13"/>
          <p:cNvCxnSpPr/>
          <p:nvPr userDrawn="1"/>
        </p:nvCxnSpPr>
        <p:spPr>
          <a:xfrm>
            <a:off x="4499992" y="4725144"/>
            <a:ext cx="3888432" cy="0"/>
          </a:xfrm>
          <a:prstGeom prst="line">
            <a:avLst/>
          </a:prstGeom>
          <a:ln w="15875" cmpd="thickThin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Скругленный прямоугольник 14"/>
          <p:cNvSpPr/>
          <p:nvPr userDrawn="1"/>
        </p:nvSpPr>
        <p:spPr>
          <a:xfrm>
            <a:off x="539552" y="1700808"/>
            <a:ext cx="8280920" cy="2016224"/>
          </a:xfrm>
          <a:prstGeom prst="roundRect">
            <a:avLst/>
          </a:prstGeom>
          <a:solidFill>
            <a:schemeClr val="accent5">
              <a:lumMod val="90000"/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кругленный прямоугольник 7"/>
          <p:cNvSpPr/>
          <p:nvPr userDrawn="1"/>
        </p:nvSpPr>
        <p:spPr>
          <a:xfrm>
            <a:off x="467544" y="332656"/>
            <a:ext cx="8424936" cy="6264696"/>
          </a:xfrm>
          <a:prstGeom prst="roundRect">
            <a:avLst/>
          </a:prstGeom>
          <a:noFill/>
          <a:ln w="952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" name="Группа 8"/>
          <p:cNvGrpSpPr/>
          <p:nvPr userDrawn="1"/>
        </p:nvGrpSpPr>
        <p:grpSpPr>
          <a:xfrm>
            <a:off x="395536" y="3281617"/>
            <a:ext cx="3726036" cy="2955695"/>
            <a:chOff x="1566679" y="2060848"/>
            <a:chExt cx="3726036" cy="2955695"/>
          </a:xfrm>
        </p:grpSpPr>
        <p:pic>
          <p:nvPicPr>
            <p:cNvPr id="10" name="Picture 6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566679" y="3573016"/>
              <a:ext cx="1853192" cy="1443527"/>
            </a:xfrm>
            <a:prstGeom prst="round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1" name="Picture 7"/>
            <p:cNvPicPr>
              <a:picLocks noChangeAspect="1" noChangeArrowheads="1"/>
            </p:cNvPicPr>
            <p:nvPr/>
          </p:nvPicPr>
          <p:blipFill>
            <a:blip r:embed="rId3" cstate="print"/>
            <a:stretch>
              <a:fillRect/>
            </a:stretch>
          </p:blipFill>
          <p:spPr bwMode="auto">
            <a:xfrm>
              <a:off x="1566679" y="2060848"/>
              <a:ext cx="1853828" cy="1442328"/>
            </a:xfrm>
            <a:prstGeom prst="roundRect">
              <a:avLst/>
            </a:prstGeom>
            <a:noFill/>
            <a:ln>
              <a:noFill/>
            </a:ln>
          </p:spPr>
        </p:pic>
        <p:pic>
          <p:nvPicPr>
            <p:cNvPr id="12" name="Picture 8"/>
            <p:cNvPicPr>
              <a:picLocks noChangeAspect="1" noChangeArrowheads="1"/>
            </p:cNvPicPr>
            <p:nvPr/>
          </p:nvPicPr>
          <p:blipFill>
            <a:blip r:embed="rId4" cstate="print"/>
            <a:stretch>
              <a:fillRect/>
            </a:stretch>
          </p:blipFill>
          <p:spPr bwMode="auto">
            <a:xfrm>
              <a:off x="3438887" y="2060848"/>
              <a:ext cx="1853828" cy="1442328"/>
            </a:xfrm>
            <a:prstGeom prst="roundRect">
              <a:avLst/>
            </a:prstGeom>
            <a:noFill/>
            <a:ln>
              <a:noFill/>
            </a:ln>
          </p:spPr>
        </p:pic>
        <p:pic>
          <p:nvPicPr>
            <p:cNvPr id="13" name="Picture 9"/>
            <p:cNvPicPr>
              <a:picLocks noChangeAspect="1" noChangeArrowheads="1"/>
            </p:cNvPicPr>
            <p:nvPr/>
          </p:nvPicPr>
          <p:blipFill>
            <a:blip r:embed="rId5" cstate="print">
              <a:lum bright="4000"/>
            </a:blip>
            <a:srcRect/>
            <a:stretch>
              <a:fillRect/>
            </a:stretch>
          </p:blipFill>
          <p:spPr bwMode="auto">
            <a:xfrm>
              <a:off x="3438887" y="3573016"/>
              <a:ext cx="1853193" cy="1441200"/>
            </a:xfrm>
            <a:prstGeom prst="round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cxnSp>
        <p:nvCxnSpPr>
          <p:cNvPr id="14" name="Прямая соединительная линия 13"/>
          <p:cNvCxnSpPr/>
          <p:nvPr userDrawn="1"/>
        </p:nvCxnSpPr>
        <p:spPr>
          <a:xfrm>
            <a:off x="4499992" y="4725144"/>
            <a:ext cx="3888432" cy="0"/>
          </a:xfrm>
          <a:prstGeom prst="line">
            <a:avLst/>
          </a:prstGeom>
          <a:ln w="15875" cmpd="thickThin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Скругленный прямоугольник 14"/>
          <p:cNvSpPr/>
          <p:nvPr userDrawn="1"/>
        </p:nvSpPr>
        <p:spPr>
          <a:xfrm>
            <a:off x="611560" y="548680"/>
            <a:ext cx="8280920" cy="2664296"/>
          </a:xfrm>
          <a:prstGeom prst="roundRect">
            <a:avLst/>
          </a:prstGeom>
          <a:solidFill>
            <a:schemeClr val="accent5">
              <a:lumMod val="90000"/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6012160" y="0"/>
            <a:ext cx="313184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077913" lvl="0"/>
            <a:endParaRPr lang="ru-RU" b="1" dirty="0" smtClean="0"/>
          </a:p>
        </p:txBody>
      </p:sp>
      <p:grpSp>
        <p:nvGrpSpPr>
          <p:cNvPr id="8" name="Группа 5"/>
          <p:cNvGrpSpPr/>
          <p:nvPr userDrawn="1"/>
        </p:nvGrpSpPr>
        <p:grpSpPr>
          <a:xfrm>
            <a:off x="418982" y="-315416"/>
            <a:ext cx="8617514" cy="1496507"/>
            <a:chOff x="202958" y="-11723"/>
            <a:chExt cx="8617514" cy="1352491"/>
          </a:xfrm>
        </p:grpSpPr>
        <p:sp>
          <p:nvSpPr>
            <p:cNvPr id="9" name="Скругленный прямоугольник 8"/>
            <p:cNvSpPr/>
            <p:nvPr/>
          </p:nvSpPr>
          <p:spPr>
            <a:xfrm>
              <a:off x="611560" y="188640"/>
              <a:ext cx="8208912" cy="1152128"/>
            </a:xfrm>
            <a:prstGeom prst="round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Скругленный прямоугольник 9"/>
            <p:cNvSpPr/>
            <p:nvPr/>
          </p:nvSpPr>
          <p:spPr>
            <a:xfrm>
              <a:off x="202958" y="-11723"/>
              <a:ext cx="8568952" cy="134076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1" name="Группа 8"/>
          <p:cNvGrpSpPr/>
          <p:nvPr userDrawn="1"/>
        </p:nvGrpSpPr>
        <p:grpSpPr>
          <a:xfrm>
            <a:off x="0" y="-83731"/>
            <a:ext cx="9144000" cy="200363"/>
            <a:chOff x="0" y="-11723"/>
            <a:chExt cx="9144000" cy="200363"/>
          </a:xfrm>
        </p:grpSpPr>
        <p:sp>
          <p:nvSpPr>
            <p:cNvPr id="12" name="Прямоугольник 11"/>
            <p:cNvSpPr/>
            <p:nvPr/>
          </p:nvSpPr>
          <p:spPr>
            <a:xfrm>
              <a:off x="0" y="-11723"/>
              <a:ext cx="5652120" cy="20036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5652120" y="-11723"/>
              <a:ext cx="3491880" cy="20036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4" name="Группа 16"/>
          <p:cNvGrpSpPr/>
          <p:nvPr userDrawn="1"/>
        </p:nvGrpSpPr>
        <p:grpSpPr>
          <a:xfrm>
            <a:off x="1343" y="6451068"/>
            <a:ext cx="9142657" cy="406932"/>
            <a:chOff x="1343" y="6451068"/>
            <a:chExt cx="9142657" cy="406932"/>
          </a:xfrm>
        </p:grpSpPr>
        <p:sp>
          <p:nvSpPr>
            <p:cNvPr id="15" name="Прямоугольник 14"/>
            <p:cNvSpPr/>
            <p:nvPr/>
          </p:nvSpPr>
          <p:spPr>
            <a:xfrm>
              <a:off x="1343" y="6451068"/>
              <a:ext cx="3274513" cy="406932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3275856" y="6451068"/>
              <a:ext cx="3491880" cy="406932"/>
            </a:xfrm>
            <a:prstGeom prst="rect">
              <a:avLst/>
            </a:prstGeom>
            <a:solidFill>
              <a:schemeClr val="accent5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6732240" y="6451068"/>
              <a:ext cx="2411760" cy="40693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8" name="TextBox 17"/>
          <p:cNvSpPr txBox="1"/>
          <p:nvPr userDrawn="1"/>
        </p:nvSpPr>
        <p:spPr>
          <a:xfrm>
            <a:off x="228074" y="6453336"/>
            <a:ext cx="30963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400"/>
              </a:lnSpc>
              <a:defRPr/>
            </a:pPr>
            <a:r>
              <a:rPr lang="ru-RU" b="1" dirty="0" smtClean="0">
                <a:solidFill>
                  <a:schemeClr val="accent5">
                    <a:lumMod val="90000"/>
                  </a:schemeClr>
                </a:solidFill>
                <a:latin typeface="Garamond" pitchFamily="18" charset="0"/>
              </a:rPr>
              <a:t>Министерство финансов</a:t>
            </a:r>
            <a:endParaRPr lang="ru-RU" b="1" dirty="0">
              <a:solidFill>
                <a:schemeClr val="accent5">
                  <a:lumMod val="90000"/>
                </a:schemeClr>
              </a:solidFill>
              <a:latin typeface="Garamond" pitchFamily="18" charset="0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3193795" y="6453336"/>
            <a:ext cx="30963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  <a:defRPr/>
            </a:pPr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latin typeface="Garamond" pitchFamily="18" charset="0"/>
              </a:rPr>
              <a:t>Ставропольского края</a:t>
            </a:r>
            <a:endParaRPr lang="ru-RU" b="1" dirty="0">
              <a:solidFill>
                <a:schemeClr val="accent6">
                  <a:lumMod val="75000"/>
                </a:schemeClr>
              </a:solidFill>
              <a:latin typeface="Garamond" pitchFamily="18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0" y="-144016"/>
            <a:ext cx="9144000" cy="7047734"/>
            <a:chOff x="0" y="-144016"/>
            <a:chExt cx="9144000" cy="7047734"/>
          </a:xfrm>
        </p:grpSpPr>
        <p:sp>
          <p:nvSpPr>
            <p:cNvPr id="8" name="Прямоугольник 7"/>
            <p:cNvSpPr/>
            <p:nvPr/>
          </p:nvSpPr>
          <p:spPr>
            <a:xfrm>
              <a:off x="0" y="-144016"/>
              <a:ext cx="179512" cy="1124744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179512" y="-144016"/>
              <a:ext cx="216024" cy="112474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395536" y="-144016"/>
              <a:ext cx="8748464" cy="1124744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179512" y="6597352"/>
              <a:ext cx="8568952" cy="26064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0" y="6597352"/>
              <a:ext cx="216024" cy="26064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 12"/>
            <p:cNvSpPr/>
            <p:nvPr/>
          </p:nvSpPr>
          <p:spPr>
            <a:xfrm flipV="1">
              <a:off x="8748464" y="6597352"/>
              <a:ext cx="395536" cy="306366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F5C78F-DA6C-406F-8F77-AA2CCA26173B}" type="datetime1">
              <a:rPr lang="ru-RU" smtClean="0"/>
              <a:pPr/>
              <a:t>12.03.2021</a:t>
            </a:fld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3" name="Группа 9"/>
          <p:cNvGrpSpPr/>
          <p:nvPr userDrawn="1"/>
        </p:nvGrpSpPr>
        <p:grpSpPr>
          <a:xfrm>
            <a:off x="0" y="-83731"/>
            <a:ext cx="9144000" cy="200363"/>
            <a:chOff x="0" y="-11723"/>
            <a:chExt cx="9144000" cy="200363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0" y="-11723"/>
              <a:ext cx="5652120" cy="20036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5652120" y="-11723"/>
              <a:ext cx="3491880" cy="20036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5" name="Группа 12"/>
          <p:cNvGrpSpPr/>
          <p:nvPr userDrawn="1"/>
        </p:nvGrpSpPr>
        <p:grpSpPr>
          <a:xfrm>
            <a:off x="1343" y="6451068"/>
            <a:ext cx="9142657" cy="406932"/>
            <a:chOff x="1343" y="6451068"/>
            <a:chExt cx="9142657" cy="406932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1343" y="6451068"/>
              <a:ext cx="3274513" cy="406932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3275856" y="6451068"/>
              <a:ext cx="3491880" cy="406932"/>
            </a:xfrm>
            <a:prstGeom prst="rect">
              <a:avLst/>
            </a:prstGeom>
            <a:solidFill>
              <a:schemeClr val="accent5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6732240" y="6451068"/>
              <a:ext cx="2411760" cy="40693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7" name="TextBox 16"/>
          <p:cNvSpPr txBox="1"/>
          <p:nvPr userDrawn="1"/>
        </p:nvSpPr>
        <p:spPr>
          <a:xfrm>
            <a:off x="179512" y="6453499"/>
            <a:ext cx="3096344" cy="38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400"/>
              </a:lnSpc>
              <a:defRPr/>
            </a:pPr>
            <a:r>
              <a:rPr lang="ru-RU" b="1" dirty="0" smtClean="0">
                <a:solidFill>
                  <a:schemeClr val="accent5">
                    <a:lumMod val="90000"/>
                  </a:schemeClr>
                </a:solidFill>
                <a:latin typeface="+mn-lt"/>
              </a:rPr>
              <a:t>Министерство финансов</a:t>
            </a:r>
            <a:endParaRPr lang="ru-RU" b="1" dirty="0">
              <a:solidFill>
                <a:schemeClr val="accent5">
                  <a:lumMod val="90000"/>
                </a:schemeClr>
              </a:solidFill>
              <a:latin typeface="+mn-lt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3193795" y="6446167"/>
            <a:ext cx="3096344" cy="38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  <a:defRPr/>
            </a:pPr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latin typeface="+mn-lt"/>
              </a:rPr>
              <a:t>Ставропольского края</a:t>
            </a:r>
            <a:endParaRPr lang="ru-RU" b="1" dirty="0">
              <a:solidFill>
                <a:schemeClr val="accent6">
                  <a:lumMod val="75000"/>
                </a:schemeClr>
              </a:solidFill>
              <a:latin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5651500" y="-84138"/>
            <a:ext cx="3492500" cy="200026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182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5652123" y="-83724"/>
            <a:ext cx="3491880" cy="20036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noFill/>
          <a:ln w="22225">
            <a:solidFill>
              <a:srgbClr val="9D8A78">
                <a:alpha val="5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9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836712"/>
          </a:xfrm>
        </p:spPr>
        <p:txBody>
          <a:bodyPr>
            <a:normAutofit/>
          </a:bodyPr>
          <a:lstStyle>
            <a:lvl1pPr>
              <a:lnSpc>
                <a:spcPts val="2300"/>
              </a:lnSpc>
              <a:defRPr lang="ru-RU" altLang="ru-RU" sz="2400" b="1" kern="1200" spc="70">
                <a:ln w="3175" cmpd="sng">
                  <a:noFill/>
                  <a:prstDash val="solid"/>
                </a:ln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ourier New" pitchFamily="49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316913" y="6492875"/>
            <a:ext cx="827087" cy="365125"/>
          </a:xfrm>
        </p:spPr>
        <p:txBody>
          <a:bodyPr/>
          <a:lstStyle>
            <a:lvl1pPr>
              <a:defRPr lang="ru-RU" altLang="ru-RU" sz="1600" b="1" kern="1200" spc="70">
                <a:ln w="3175" cmpd="sng">
                  <a:noFill/>
                  <a:prstDash val="solid"/>
                </a:ln>
                <a:solidFill>
                  <a:srgbClr val="7F7F7F"/>
                </a:solidFill>
                <a:latin typeface="+mn-lt"/>
                <a:ea typeface="+mn-ea"/>
                <a:cs typeface="Courier New" pitchFamily="49" charset="0"/>
              </a:defRPr>
            </a:lvl1pPr>
          </a:lstStyle>
          <a:p>
            <a:pPr>
              <a:defRPr/>
            </a:pPr>
            <a:fld id="{2279993A-8B84-465B-AF8F-4061BC871014}" type="slidenum">
              <a:rPr/>
              <a:pPr>
                <a:defRPr/>
              </a:pPr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noFill/>
          <a:ln w="22225">
            <a:solidFill>
              <a:srgbClr val="9D8A78">
                <a:alpha val="5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9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836712"/>
          </a:xfrm>
        </p:spPr>
        <p:txBody>
          <a:bodyPr>
            <a:normAutofit/>
          </a:bodyPr>
          <a:lstStyle>
            <a:lvl1pPr>
              <a:lnSpc>
                <a:spcPts val="2300"/>
              </a:lnSpc>
              <a:defRPr lang="ru-RU" altLang="ru-RU" sz="2400" b="1" kern="1200" spc="70">
                <a:ln w="3175" cmpd="sng">
                  <a:noFill/>
                  <a:prstDash val="solid"/>
                </a:ln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ourier New" pitchFamily="49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</p:nvPr>
        </p:nvSpPr>
        <p:spPr>
          <a:xfrm>
            <a:off x="8316913" y="6492875"/>
            <a:ext cx="827087" cy="365125"/>
          </a:xfrm>
        </p:spPr>
        <p:txBody>
          <a:bodyPr/>
          <a:lstStyle>
            <a:lvl1pPr>
              <a:defRPr lang="ru-RU" altLang="ru-RU" sz="1600" b="1" kern="1200" spc="70">
                <a:ln w="3175" cmpd="sng">
                  <a:noFill/>
                  <a:prstDash val="solid"/>
                </a:ln>
                <a:solidFill>
                  <a:srgbClr val="7F7F7F"/>
                </a:solidFill>
                <a:latin typeface="+mn-lt"/>
                <a:ea typeface="+mn-ea"/>
                <a:cs typeface="Courier New" pitchFamily="49" charset="0"/>
              </a:defRPr>
            </a:lvl1pPr>
          </a:lstStyle>
          <a:p>
            <a:pPr>
              <a:defRPr/>
            </a:pPr>
            <a:fld id="{29D281D6-157D-4F94-B9E8-082EC9A6A235}" type="slidenum">
              <a:rPr/>
              <a:pPr>
                <a:defRPr/>
              </a:pPr>
              <a:t>‹#›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5652123" y="-83724"/>
            <a:ext cx="3491880" cy="20036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вал 10"/>
          <p:cNvSpPr/>
          <p:nvPr userDrawn="1"/>
        </p:nvSpPr>
        <p:spPr>
          <a:xfrm>
            <a:off x="8748713" y="6464300"/>
            <a:ext cx="360362" cy="35877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722618" y="6468914"/>
            <a:ext cx="398463" cy="365125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73D24370-4520-4910-9E97-D51ADCD4D44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6" name="Прямоугольник с двумя скругленными соседними углами 4"/>
          <p:cNvSpPr/>
          <p:nvPr userDrawn="1"/>
        </p:nvSpPr>
        <p:spPr>
          <a:xfrm flipV="1">
            <a:off x="3759200" y="20638"/>
            <a:ext cx="5364163" cy="26035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8" name="Заголовок 6"/>
          <p:cNvSpPr>
            <a:spLocks noGrp="1"/>
          </p:cNvSpPr>
          <p:nvPr>
            <p:ph type="title"/>
          </p:nvPr>
        </p:nvSpPr>
        <p:spPr>
          <a:xfrm>
            <a:off x="3790303" y="10391"/>
            <a:ext cx="5364088" cy="274042"/>
          </a:xfrm>
        </p:spPr>
        <p:txBody>
          <a:bodyPr>
            <a:noAutofit/>
          </a:bodyPr>
          <a:lstStyle>
            <a:lvl1pPr algn="r">
              <a:defRPr sz="14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83970" name="Picture 2" descr="D:\Users\krdoas\Pictures\пятно 2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32656"/>
            <a:ext cx="9144000" cy="6525344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F5C78F-DA6C-406F-8F77-AA2CCA26173B}" type="datetime1">
              <a:rPr lang="ru-RU" smtClean="0"/>
              <a:pPr/>
              <a:t>12.03.2021</a:t>
            </a:fld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418982" y="-315416"/>
            <a:ext cx="8617514" cy="1496507"/>
            <a:chOff x="202958" y="-11723"/>
            <a:chExt cx="8617514" cy="1352491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611560" y="188640"/>
              <a:ext cx="8208912" cy="1152128"/>
            </a:xfrm>
            <a:prstGeom prst="round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Скругленный прямоугольник 8"/>
            <p:cNvSpPr/>
            <p:nvPr/>
          </p:nvSpPr>
          <p:spPr>
            <a:xfrm>
              <a:off x="202958" y="-11723"/>
              <a:ext cx="8568952" cy="134076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0" name="Группа 9"/>
          <p:cNvGrpSpPr/>
          <p:nvPr userDrawn="1"/>
        </p:nvGrpSpPr>
        <p:grpSpPr>
          <a:xfrm>
            <a:off x="0" y="-83731"/>
            <a:ext cx="9144000" cy="200363"/>
            <a:chOff x="0" y="-11723"/>
            <a:chExt cx="9144000" cy="200363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0" y="-11723"/>
              <a:ext cx="5652120" cy="20036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5652120" y="-11723"/>
              <a:ext cx="3491880" cy="20036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3" name="Группа 12"/>
          <p:cNvGrpSpPr/>
          <p:nvPr userDrawn="1"/>
        </p:nvGrpSpPr>
        <p:grpSpPr>
          <a:xfrm>
            <a:off x="1343" y="6451068"/>
            <a:ext cx="9142657" cy="406932"/>
            <a:chOff x="1343" y="6451068"/>
            <a:chExt cx="9142657" cy="406932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1343" y="6451068"/>
              <a:ext cx="3274513" cy="406932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3275856" y="6451068"/>
              <a:ext cx="3491880" cy="406932"/>
            </a:xfrm>
            <a:prstGeom prst="rect">
              <a:avLst/>
            </a:prstGeom>
            <a:solidFill>
              <a:schemeClr val="accent5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6732240" y="6451068"/>
              <a:ext cx="2411760" cy="40693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7" name="TextBox 16"/>
          <p:cNvSpPr txBox="1"/>
          <p:nvPr userDrawn="1"/>
        </p:nvSpPr>
        <p:spPr>
          <a:xfrm>
            <a:off x="179512" y="6453499"/>
            <a:ext cx="3096344" cy="38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400"/>
              </a:lnSpc>
              <a:defRPr/>
            </a:pPr>
            <a:r>
              <a:rPr lang="ru-RU" b="1" dirty="0" smtClean="0">
                <a:solidFill>
                  <a:schemeClr val="accent5">
                    <a:lumMod val="90000"/>
                  </a:schemeClr>
                </a:solidFill>
                <a:latin typeface="+mn-lt"/>
              </a:rPr>
              <a:t>Министерство финансов</a:t>
            </a:r>
            <a:endParaRPr lang="ru-RU" b="1" dirty="0">
              <a:solidFill>
                <a:schemeClr val="accent5">
                  <a:lumMod val="90000"/>
                </a:schemeClr>
              </a:solidFill>
              <a:latin typeface="+mn-lt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3193795" y="6446167"/>
            <a:ext cx="3096344" cy="38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  <a:defRPr/>
            </a:pPr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latin typeface="+mn-lt"/>
              </a:rPr>
              <a:t>Ставропольского края</a:t>
            </a:r>
            <a:endParaRPr lang="ru-RU" b="1" dirty="0">
              <a:solidFill>
                <a:schemeClr val="accent6">
                  <a:lumMod val="75000"/>
                </a:schemeClr>
              </a:solidFill>
              <a:latin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вал 10"/>
          <p:cNvSpPr/>
          <p:nvPr userDrawn="1"/>
        </p:nvSpPr>
        <p:spPr>
          <a:xfrm>
            <a:off x="8748713" y="6464300"/>
            <a:ext cx="360362" cy="358775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722618" y="6468914"/>
            <a:ext cx="398463" cy="365125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73D24370-4520-4910-9E97-D51ADCD4D44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6" name="Прямоугольник с двумя скругленными соседними углами 4"/>
          <p:cNvSpPr/>
          <p:nvPr userDrawn="1"/>
        </p:nvSpPr>
        <p:spPr>
          <a:xfrm flipV="1">
            <a:off x="3759200" y="20638"/>
            <a:ext cx="5364163" cy="26035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8" name="Заголовок 6"/>
          <p:cNvSpPr>
            <a:spLocks noGrp="1"/>
          </p:cNvSpPr>
          <p:nvPr>
            <p:ph type="title"/>
          </p:nvPr>
        </p:nvSpPr>
        <p:spPr>
          <a:xfrm>
            <a:off x="3790303" y="10391"/>
            <a:ext cx="5364088" cy="274042"/>
          </a:xfrm>
        </p:spPr>
        <p:txBody>
          <a:bodyPr>
            <a:noAutofit/>
          </a:bodyPr>
          <a:lstStyle>
            <a:lvl1pPr algn="r">
              <a:defRPr sz="14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83970" name="Picture 2" descr="D:\Users\krdoas\Pictures\пятно 2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32656"/>
            <a:ext cx="9144000" cy="6525344"/>
          </a:xfrm>
          <a:prstGeom prst="rect">
            <a:avLst/>
          </a:prstGeom>
          <a:noFill/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0" y="202630"/>
            <a:ext cx="9144000" cy="778098"/>
          </a:xfrm>
        </p:spPr>
        <p:txBody>
          <a:bodyPr>
            <a:normAutofit/>
          </a:bodyPr>
          <a:lstStyle>
            <a:lvl1pPr>
              <a:defRPr kumimoji="0" lang="ru-RU" sz="32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</a:t>
            </a:r>
            <a:r>
              <a:rPr lang="en-US" smtClean="0"/>
              <a:t> </a:t>
            </a:r>
            <a:r>
              <a:rPr lang="ru-RU" smtClean="0"/>
              <a:t>ЗАГОЛОВКА</a:t>
            </a:r>
            <a:endParaRPr lang="ru-RU"/>
          </a:p>
        </p:txBody>
      </p:sp>
      <p:sp>
        <p:nvSpPr>
          <p:cNvPr id="3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424" y="6448251"/>
            <a:ext cx="720080" cy="365125"/>
          </a:xfrm>
        </p:spPr>
        <p:txBody>
          <a:bodyPr/>
          <a:lstStyle>
            <a:lvl1pPr algn="r">
              <a:def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4372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F5C78F-DA6C-406F-8F77-AA2CCA26173B}" type="datetime1">
              <a:rPr lang="ru-RU" smtClean="0"/>
              <a:pPr/>
              <a:t>12.03.2021</a:t>
            </a:fld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2" name="Группа 6"/>
          <p:cNvGrpSpPr/>
          <p:nvPr userDrawn="1"/>
        </p:nvGrpSpPr>
        <p:grpSpPr>
          <a:xfrm>
            <a:off x="418982" y="-315416"/>
            <a:ext cx="8617514" cy="1496507"/>
            <a:chOff x="202958" y="-11723"/>
            <a:chExt cx="8617514" cy="1352491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611560" y="188640"/>
              <a:ext cx="8208912" cy="1152128"/>
            </a:xfrm>
            <a:prstGeom prst="round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Скругленный прямоугольник 8"/>
            <p:cNvSpPr/>
            <p:nvPr/>
          </p:nvSpPr>
          <p:spPr>
            <a:xfrm>
              <a:off x="202958" y="-11723"/>
              <a:ext cx="8568952" cy="134076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3" name="Группа 9"/>
          <p:cNvGrpSpPr/>
          <p:nvPr userDrawn="1"/>
        </p:nvGrpSpPr>
        <p:grpSpPr>
          <a:xfrm>
            <a:off x="0" y="-83731"/>
            <a:ext cx="9144000" cy="200363"/>
            <a:chOff x="0" y="-11723"/>
            <a:chExt cx="9144000" cy="200363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0" y="-11723"/>
              <a:ext cx="5652120" cy="20036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5652120" y="-11723"/>
              <a:ext cx="3491880" cy="20036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5" name="Группа 12"/>
          <p:cNvGrpSpPr/>
          <p:nvPr userDrawn="1"/>
        </p:nvGrpSpPr>
        <p:grpSpPr>
          <a:xfrm>
            <a:off x="1343" y="6451068"/>
            <a:ext cx="9142657" cy="406932"/>
            <a:chOff x="1343" y="6451068"/>
            <a:chExt cx="9142657" cy="406932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1343" y="6451068"/>
              <a:ext cx="3274513" cy="406932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3275856" y="6451068"/>
              <a:ext cx="3491880" cy="406932"/>
            </a:xfrm>
            <a:prstGeom prst="rect">
              <a:avLst/>
            </a:prstGeom>
            <a:solidFill>
              <a:schemeClr val="accent5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6732240" y="6451068"/>
              <a:ext cx="2411760" cy="40693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7" name="TextBox 16"/>
          <p:cNvSpPr txBox="1"/>
          <p:nvPr userDrawn="1"/>
        </p:nvSpPr>
        <p:spPr>
          <a:xfrm>
            <a:off x="179512" y="6453499"/>
            <a:ext cx="3096344" cy="38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400"/>
              </a:lnSpc>
              <a:defRPr/>
            </a:pPr>
            <a:r>
              <a:rPr lang="ru-RU" b="1" dirty="0" smtClean="0">
                <a:solidFill>
                  <a:schemeClr val="accent5">
                    <a:lumMod val="90000"/>
                  </a:schemeClr>
                </a:solidFill>
                <a:latin typeface="+mn-lt"/>
              </a:rPr>
              <a:t>Министерство финансов</a:t>
            </a:r>
            <a:endParaRPr lang="ru-RU" b="1" dirty="0">
              <a:solidFill>
                <a:schemeClr val="accent5">
                  <a:lumMod val="90000"/>
                </a:schemeClr>
              </a:solidFill>
              <a:latin typeface="+mn-lt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3193795" y="6446167"/>
            <a:ext cx="3096344" cy="38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  <a:defRPr/>
            </a:pPr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latin typeface="+mn-lt"/>
              </a:rPr>
              <a:t>Ставропольского края</a:t>
            </a:r>
            <a:endParaRPr lang="ru-RU" b="1" dirty="0">
              <a:solidFill>
                <a:schemeClr val="accent6">
                  <a:lumMod val="75000"/>
                </a:schemeClr>
              </a:solidFill>
              <a:latin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5652123" y="-83724"/>
            <a:ext cx="3491880" cy="20036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7450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16416" y="6492875"/>
            <a:ext cx="827584" cy="365125"/>
          </a:xfrm>
        </p:spPr>
        <p:txBody>
          <a:bodyPr/>
          <a:lstStyle>
            <a:lvl1pPr>
              <a:defRPr lang="ru-RU" altLang="ru-RU" sz="1600" b="1" kern="1200" spc="70" smtClean="0">
                <a:ln w="3175" cmpd="sng">
                  <a:noFill/>
                  <a:prstDash val="solid"/>
                </a:ln>
                <a:solidFill>
                  <a:srgbClr val="7F7F7F"/>
                </a:solidFill>
                <a:latin typeface="+mn-lt"/>
                <a:ea typeface="+mn-ea"/>
                <a:cs typeface="Courier New" pitchFamily="49" charset="0"/>
              </a:defRPr>
            </a:lvl1pPr>
          </a:lstStyle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836712"/>
          </a:xfrm>
        </p:spPr>
        <p:txBody>
          <a:bodyPr>
            <a:normAutofit/>
          </a:bodyPr>
          <a:lstStyle>
            <a:lvl1pPr>
              <a:lnSpc>
                <a:spcPts val="2300"/>
              </a:lnSpc>
              <a:defRPr lang="ru-RU" altLang="ru-RU" sz="2400" b="1" kern="1200" spc="70">
                <a:ln w="3175" cmpd="sng">
                  <a:noFill/>
                  <a:prstDash val="solid"/>
                </a:ln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ourier New" pitchFamily="49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noFill/>
          <a:ln w="22225">
            <a:solidFill>
              <a:srgbClr val="9D8A78">
                <a:alpha val="55000"/>
              </a:srgb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2" name="Группа 6"/>
          <p:cNvGrpSpPr/>
          <p:nvPr userDrawn="1"/>
        </p:nvGrpSpPr>
        <p:grpSpPr>
          <a:xfrm>
            <a:off x="418982" y="-315416"/>
            <a:ext cx="8617514" cy="1496507"/>
            <a:chOff x="202958" y="-11723"/>
            <a:chExt cx="8617514" cy="1352491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611560" y="188640"/>
              <a:ext cx="8208912" cy="1152128"/>
            </a:xfrm>
            <a:prstGeom prst="round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Скругленный прямоугольник 8"/>
            <p:cNvSpPr/>
            <p:nvPr/>
          </p:nvSpPr>
          <p:spPr>
            <a:xfrm>
              <a:off x="202958" y="-11723"/>
              <a:ext cx="8568952" cy="134076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3" name="Группа 9"/>
          <p:cNvGrpSpPr/>
          <p:nvPr userDrawn="1"/>
        </p:nvGrpSpPr>
        <p:grpSpPr>
          <a:xfrm>
            <a:off x="0" y="-83731"/>
            <a:ext cx="9144000" cy="200363"/>
            <a:chOff x="0" y="-11723"/>
            <a:chExt cx="9144000" cy="200363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0" y="-11723"/>
              <a:ext cx="5652120" cy="20036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5652120" y="-11723"/>
              <a:ext cx="3491880" cy="20036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2" name="Группа 6"/>
          <p:cNvGrpSpPr/>
          <p:nvPr userDrawn="1"/>
        </p:nvGrpSpPr>
        <p:grpSpPr>
          <a:xfrm>
            <a:off x="418982" y="-315416"/>
            <a:ext cx="8617514" cy="1496507"/>
            <a:chOff x="202958" y="-11723"/>
            <a:chExt cx="8617514" cy="1352491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611560" y="188640"/>
              <a:ext cx="8208912" cy="1152128"/>
            </a:xfrm>
            <a:prstGeom prst="round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Скругленный прямоугольник 8"/>
            <p:cNvSpPr/>
            <p:nvPr/>
          </p:nvSpPr>
          <p:spPr>
            <a:xfrm>
              <a:off x="202958" y="-11723"/>
              <a:ext cx="8568952" cy="134076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3" name="Группа 9"/>
          <p:cNvGrpSpPr/>
          <p:nvPr userDrawn="1"/>
        </p:nvGrpSpPr>
        <p:grpSpPr>
          <a:xfrm>
            <a:off x="0" y="-83731"/>
            <a:ext cx="9144000" cy="200363"/>
            <a:chOff x="0" y="-11723"/>
            <a:chExt cx="9144000" cy="200363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0" y="-11723"/>
              <a:ext cx="5652120" cy="20036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5652120" y="-11723"/>
              <a:ext cx="3491880" cy="20036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A18C4F-BD10-4597-9E58-90910A3AC3E1}" type="datetime1">
              <a:rPr lang="ru-RU" smtClean="0"/>
              <a:pPr/>
              <a:t>12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E3E53A-829A-44CA-85A0-4551364FF5E1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418982" y="-315416"/>
            <a:ext cx="8617514" cy="1496507"/>
            <a:chOff x="202958" y="-11723"/>
            <a:chExt cx="8617514" cy="1352491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611560" y="188640"/>
              <a:ext cx="8208912" cy="1152128"/>
            </a:xfrm>
            <a:prstGeom prst="round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Скругленный прямоугольник 8"/>
            <p:cNvSpPr/>
            <p:nvPr/>
          </p:nvSpPr>
          <p:spPr>
            <a:xfrm>
              <a:off x="202958" y="-11723"/>
              <a:ext cx="8568952" cy="134076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0" name="Группа 9"/>
          <p:cNvGrpSpPr/>
          <p:nvPr userDrawn="1"/>
        </p:nvGrpSpPr>
        <p:grpSpPr>
          <a:xfrm>
            <a:off x="1343" y="6451068"/>
            <a:ext cx="9142657" cy="406932"/>
            <a:chOff x="1343" y="6451068"/>
            <a:chExt cx="9142657" cy="406932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1343" y="6451068"/>
              <a:ext cx="3274513" cy="406932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3275856" y="6451068"/>
              <a:ext cx="3491880" cy="406932"/>
            </a:xfrm>
            <a:prstGeom prst="rect">
              <a:avLst/>
            </a:prstGeom>
            <a:solidFill>
              <a:schemeClr val="accent5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6732240" y="6451068"/>
              <a:ext cx="2411760" cy="40693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4" name="TextBox 13"/>
          <p:cNvSpPr txBox="1"/>
          <p:nvPr userDrawn="1"/>
        </p:nvSpPr>
        <p:spPr>
          <a:xfrm>
            <a:off x="179512" y="6453499"/>
            <a:ext cx="3096344" cy="38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400"/>
              </a:lnSpc>
              <a:defRPr/>
            </a:pPr>
            <a:r>
              <a:rPr lang="ru-RU" b="1" dirty="0" smtClean="0">
                <a:solidFill>
                  <a:schemeClr val="accent5">
                    <a:lumMod val="90000"/>
                  </a:schemeClr>
                </a:solidFill>
                <a:latin typeface="+mn-lt"/>
              </a:rPr>
              <a:t>Министерство финансов</a:t>
            </a:r>
            <a:endParaRPr lang="ru-RU" b="1" dirty="0">
              <a:solidFill>
                <a:schemeClr val="accent5">
                  <a:lumMod val="90000"/>
                </a:schemeClr>
              </a:solidFill>
              <a:latin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3193795" y="6446167"/>
            <a:ext cx="3096344" cy="38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  <a:defRPr/>
            </a:pPr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latin typeface="+mn-lt"/>
              </a:rPr>
              <a:t>Ставропольского края</a:t>
            </a:r>
            <a:endParaRPr lang="ru-RU" b="1" dirty="0">
              <a:solidFill>
                <a:schemeClr val="accent6">
                  <a:lumMod val="75000"/>
                </a:schemeClr>
              </a:solidFill>
              <a:latin typeface="+mn-lt"/>
            </a:endParaRPr>
          </a:p>
        </p:txBody>
      </p:sp>
      <p:grpSp>
        <p:nvGrpSpPr>
          <p:cNvPr id="16" name="Группа 9"/>
          <p:cNvGrpSpPr/>
          <p:nvPr userDrawn="1"/>
        </p:nvGrpSpPr>
        <p:grpSpPr>
          <a:xfrm>
            <a:off x="0" y="-83731"/>
            <a:ext cx="9144000" cy="200363"/>
            <a:chOff x="0" y="-11723"/>
            <a:chExt cx="9144000" cy="200363"/>
          </a:xfrm>
        </p:grpSpPr>
        <p:sp>
          <p:nvSpPr>
            <p:cNvPr id="17" name="Прямоугольник 16"/>
            <p:cNvSpPr/>
            <p:nvPr/>
          </p:nvSpPr>
          <p:spPr>
            <a:xfrm>
              <a:off x="0" y="-11723"/>
              <a:ext cx="5652120" cy="20036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5652120" y="-11723"/>
              <a:ext cx="3491880" cy="20036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734425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91F6A6-003B-481F-8053-2AFF9347F050}" type="datetime1">
              <a:rPr lang="ru-RU" smtClean="0"/>
              <a:pPr/>
              <a:t>12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E3E53A-829A-44CA-85A0-4551364FF5E1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418982" y="-315416"/>
            <a:ext cx="8617514" cy="1496507"/>
            <a:chOff x="202958" y="-11723"/>
            <a:chExt cx="8617514" cy="1352491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611560" y="188640"/>
              <a:ext cx="8208912" cy="1152128"/>
            </a:xfrm>
            <a:prstGeom prst="round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Скругленный прямоугольник 8"/>
            <p:cNvSpPr/>
            <p:nvPr/>
          </p:nvSpPr>
          <p:spPr>
            <a:xfrm>
              <a:off x="202958" y="-11723"/>
              <a:ext cx="8568952" cy="134076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0" name="Группа 9"/>
          <p:cNvGrpSpPr/>
          <p:nvPr userDrawn="1"/>
        </p:nvGrpSpPr>
        <p:grpSpPr>
          <a:xfrm>
            <a:off x="1343" y="6451068"/>
            <a:ext cx="9142657" cy="406932"/>
            <a:chOff x="1343" y="6451068"/>
            <a:chExt cx="9142657" cy="406932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1343" y="6451068"/>
              <a:ext cx="3274513" cy="406932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3275856" y="6451068"/>
              <a:ext cx="3491880" cy="406932"/>
            </a:xfrm>
            <a:prstGeom prst="rect">
              <a:avLst/>
            </a:prstGeom>
            <a:solidFill>
              <a:schemeClr val="accent5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6732240" y="6451068"/>
              <a:ext cx="2411760" cy="40693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4" name="TextBox 13"/>
          <p:cNvSpPr txBox="1"/>
          <p:nvPr userDrawn="1"/>
        </p:nvSpPr>
        <p:spPr>
          <a:xfrm>
            <a:off x="179512" y="6453499"/>
            <a:ext cx="30963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400"/>
              </a:lnSpc>
              <a:defRPr/>
            </a:pPr>
            <a:r>
              <a:rPr lang="ru-RU" b="1" dirty="0" smtClean="0">
                <a:solidFill>
                  <a:schemeClr val="accent5">
                    <a:lumMod val="90000"/>
                  </a:schemeClr>
                </a:solidFill>
                <a:latin typeface="Garamond" pitchFamily="18" charset="0"/>
              </a:rPr>
              <a:t>Министерство финансов</a:t>
            </a:r>
            <a:endParaRPr lang="ru-RU" b="1" dirty="0">
              <a:solidFill>
                <a:schemeClr val="accent5">
                  <a:lumMod val="90000"/>
                </a:schemeClr>
              </a:solidFill>
              <a:latin typeface="Garamond" pitchFamily="18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3193795" y="6446167"/>
            <a:ext cx="30963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  <a:defRPr/>
            </a:pPr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latin typeface="Garamond" pitchFamily="18" charset="0"/>
              </a:rPr>
              <a:t>Ставропольского края</a:t>
            </a:r>
            <a:endParaRPr lang="ru-RU" b="1" dirty="0">
              <a:solidFill>
                <a:schemeClr val="accent6">
                  <a:lumMod val="75000"/>
                </a:schemeClr>
              </a:solidFill>
              <a:latin typeface="Garamond" pitchFamily="18" charset="0"/>
            </a:endParaRPr>
          </a:p>
        </p:txBody>
      </p:sp>
      <p:grpSp>
        <p:nvGrpSpPr>
          <p:cNvPr id="16" name="Группа 9"/>
          <p:cNvGrpSpPr/>
          <p:nvPr userDrawn="1"/>
        </p:nvGrpSpPr>
        <p:grpSpPr>
          <a:xfrm>
            <a:off x="0" y="-83731"/>
            <a:ext cx="9144000" cy="200363"/>
            <a:chOff x="0" y="-11723"/>
            <a:chExt cx="9144000" cy="200363"/>
          </a:xfrm>
        </p:grpSpPr>
        <p:sp>
          <p:nvSpPr>
            <p:cNvPr id="17" name="Прямоугольник 16"/>
            <p:cNvSpPr/>
            <p:nvPr/>
          </p:nvSpPr>
          <p:spPr>
            <a:xfrm>
              <a:off x="0" y="-11723"/>
              <a:ext cx="5652120" cy="20036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5652120" y="-11723"/>
              <a:ext cx="3491880" cy="20036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457450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E539AB-FAE3-4971-861D-44AF164E8A28}" type="datetime1">
              <a:rPr lang="ru-RU" smtClean="0"/>
              <a:pPr/>
              <a:t>12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E3E53A-829A-44CA-85A0-4551364FF5E1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418982" y="-315416"/>
            <a:ext cx="8617514" cy="1496507"/>
            <a:chOff x="202958" y="-11723"/>
            <a:chExt cx="8617514" cy="1352491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611560" y="188640"/>
              <a:ext cx="8208912" cy="1152128"/>
            </a:xfrm>
            <a:prstGeom prst="round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Скругленный прямоугольник 8"/>
            <p:cNvSpPr/>
            <p:nvPr/>
          </p:nvSpPr>
          <p:spPr>
            <a:xfrm>
              <a:off x="202958" y="-11723"/>
              <a:ext cx="8568952" cy="134076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0" name="Группа 9"/>
          <p:cNvGrpSpPr/>
          <p:nvPr userDrawn="1"/>
        </p:nvGrpSpPr>
        <p:grpSpPr>
          <a:xfrm>
            <a:off x="1343" y="6451068"/>
            <a:ext cx="9142657" cy="406932"/>
            <a:chOff x="1343" y="6451068"/>
            <a:chExt cx="9142657" cy="406932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1343" y="6451068"/>
              <a:ext cx="3274513" cy="406932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3275856" y="6451068"/>
              <a:ext cx="3491880" cy="406932"/>
            </a:xfrm>
            <a:prstGeom prst="rect">
              <a:avLst/>
            </a:prstGeom>
            <a:solidFill>
              <a:schemeClr val="accent5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6732240" y="6451068"/>
              <a:ext cx="2411760" cy="40693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4" name="TextBox 13"/>
          <p:cNvSpPr txBox="1"/>
          <p:nvPr userDrawn="1"/>
        </p:nvSpPr>
        <p:spPr>
          <a:xfrm>
            <a:off x="179512" y="6453499"/>
            <a:ext cx="30963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400"/>
              </a:lnSpc>
              <a:defRPr/>
            </a:pPr>
            <a:r>
              <a:rPr lang="ru-RU" b="1" dirty="0" smtClean="0">
                <a:solidFill>
                  <a:schemeClr val="accent5">
                    <a:lumMod val="90000"/>
                  </a:schemeClr>
                </a:solidFill>
                <a:latin typeface="Garamond" pitchFamily="18" charset="0"/>
              </a:rPr>
              <a:t>Министерство финансов</a:t>
            </a:r>
            <a:endParaRPr lang="ru-RU" b="1" dirty="0">
              <a:solidFill>
                <a:schemeClr val="accent5">
                  <a:lumMod val="90000"/>
                </a:schemeClr>
              </a:solidFill>
              <a:latin typeface="Garamond" pitchFamily="18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3193795" y="6446167"/>
            <a:ext cx="30963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  <a:defRPr/>
            </a:pPr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latin typeface="Garamond" pitchFamily="18" charset="0"/>
              </a:rPr>
              <a:t>Ставропольского края</a:t>
            </a:r>
            <a:endParaRPr lang="ru-RU" b="1" dirty="0">
              <a:solidFill>
                <a:schemeClr val="accent6">
                  <a:lumMod val="75000"/>
                </a:schemeClr>
              </a:solidFill>
              <a:latin typeface="Garamond" pitchFamily="18" charset="0"/>
            </a:endParaRPr>
          </a:p>
        </p:txBody>
      </p:sp>
      <p:grpSp>
        <p:nvGrpSpPr>
          <p:cNvPr id="16" name="Группа 9"/>
          <p:cNvGrpSpPr/>
          <p:nvPr userDrawn="1"/>
        </p:nvGrpSpPr>
        <p:grpSpPr>
          <a:xfrm>
            <a:off x="0" y="-83731"/>
            <a:ext cx="9144000" cy="200363"/>
            <a:chOff x="0" y="-11723"/>
            <a:chExt cx="9144000" cy="200363"/>
          </a:xfrm>
        </p:grpSpPr>
        <p:sp>
          <p:nvSpPr>
            <p:cNvPr id="17" name="Прямоугольник 16"/>
            <p:cNvSpPr/>
            <p:nvPr/>
          </p:nvSpPr>
          <p:spPr>
            <a:xfrm>
              <a:off x="0" y="-11723"/>
              <a:ext cx="5652120" cy="20036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5652120" y="-11723"/>
              <a:ext cx="3491880" cy="20036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141920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9B8172-D997-40EE-A2BD-5F69F2724E7F}" type="datetime1">
              <a:rPr lang="ru-RU" smtClean="0"/>
              <a:pPr/>
              <a:t>12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E3E53A-829A-44CA-85A0-4551364FF5E1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418982" y="-315416"/>
            <a:ext cx="8617514" cy="1496507"/>
            <a:chOff x="202958" y="-11723"/>
            <a:chExt cx="8617514" cy="1352491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611560" y="188640"/>
              <a:ext cx="8208912" cy="1152128"/>
            </a:xfrm>
            <a:prstGeom prst="round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Скругленный прямоугольник 8"/>
            <p:cNvSpPr/>
            <p:nvPr/>
          </p:nvSpPr>
          <p:spPr>
            <a:xfrm>
              <a:off x="202958" y="-11723"/>
              <a:ext cx="8568952" cy="134076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0" name="Группа 9"/>
          <p:cNvGrpSpPr/>
          <p:nvPr userDrawn="1"/>
        </p:nvGrpSpPr>
        <p:grpSpPr>
          <a:xfrm>
            <a:off x="1343" y="6451068"/>
            <a:ext cx="9142657" cy="406932"/>
            <a:chOff x="1343" y="6451068"/>
            <a:chExt cx="9142657" cy="406932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1343" y="6451068"/>
              <a:ext cx="3274513" cy="406932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3275856" y="6451068"/>
              <a:ext cx="3491880" cy="406932"/>
            </a:xfrm>
            <a:prstGeom prst="rect">
              <a:avLst/>
            </a:prstGeom>
            <a:solidFill>
              <a:schemeClr val="accent5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6732240" y="6451068"/>
              <a:ext cx="2411760" cy="40693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4" name="TextBox 13"/>
          <p:cNvSpPr txBox="1"/>
          <p:nvPr userDrawn="1"/>
        </p:nvSpPr>
        <p:spPr>
          <a:xfrm>
            <a:off x="179512" y="6453499"/>
            <a:ext cx="30963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400"/>
              </a:lnSpc>
              <a:defRPr/>
            </a:pPr>
            <a:r>
              <a:rPr lang="ru-RU" b="1" dirty="0" smtClean="0">
                <a:solidFill>
                  <a:schemeClr val="accent5">
                    <a:lumMod val="90000"/>
                  </a:schemeClr>
                </a:solidFill>
                <a:latin typeface="Garamond" pitchFamily="18" charset="0"/>
              </a:rPr>
              <a:t>Министерство финансов</a:t>
            </a:r>
            <a:endParaRPr lang="ru-RU" b="1" dirty="0">
              <a:solidFill>
                <a:schemeClr val="accent5">
                  <a:lumMod val="90000"/>
                </a:schemeClr>
              </a:solidFill>
              <a:latin typeface="Garamond" pitchFamily="18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3193795" y="6446167"/>
            <a:ext cx="30963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  <a:defRPr/>
            </a:pPr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latin typeface="Garamond" pitchFamily="18" charset="0"/>
              </a:rPr>
              <a:t>Ставропольского края</a:t>
            </a:r>
            <a:endParaRPr lang="ru-RU" b="1" dirty="0">
              <a:solidFill>
                <a:schemeClr val="accent6">
                  <a:lumMod val="75000"/>
                </a:schemeClr>
              </a:solidFill>
              <a:latin typeface="Garamond" pitchFamily="18" charset="0"/>
            </a:endParaRPr>
          </a:p>
        </p:txBody>
      </p:sp>
      <p:grpSp>
        <p:nvGrpSpPr>
          <p:cNvPr id="16" name="Группа 9"/>
          <p:cNvGrpSpPr/>
          <p:nvPr userDrawn="1"/>
        </p:nvGrpSpPr>
        <p:grpSpPr>
          <a:xfrm>
            <a:off x="0" y="-83731"/>
            <a:ext cx="9144000" cy="200363"/>
            <a:chOff x="0" y="-11723"/>
            <a:chExt cx="9144000" cy="200363"/>
          </a:xfrm>
        </p:grpSpPr>
        <p:sp>
          <p:nvSpPr>
            <p:cNvPr id="17" name="Прямоугольник 16"/>
            <p:cNvSpPr/>
            <p:nvPr/>
          </p:nvSpPr>
          <p:spPr>
            <a:xfrm>
              <a:off x="0" y="-11723"/>
              <a:ext cx="5652120" cy="20036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5652120" y="-11723"/>
              <a:ext cx="3491880" cy="20036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969313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821726-4582-48D5-8E4B-92B7865D5380}" type="datetime1">
              <a:rPr lang="ru-RU" smtClean="0"/>
              <a:pPr/>
              <a:t>12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E3E53A-829A-44CA-85A0-4551364FF5E1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418982" y="-315416"/>
            <a:ext cx="8617514" cy="1496507"/>
            <a:chOff x="202958" y="-11723"/>
            <a:chExt cx="8617514" cy="1352491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611560" y="188640"/>
              <a:ext cx="8208912" cy="1152128"/>
            </a:xfrm>
            <a:prstGeom prst="round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Скругленный прямоугольник 8"/>
            <p:cNvSpPr/>
            <p:nvPr/>
          </p:nvSpPr>
          <p:spPr>
            <a:xfrm>
              <a:off x="202958" y="-11723"/>
              <a:ext cx="8568952" cy="134076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0" name="Группа 9"/>
          <p:cNvGrpSpPr/>
          <p:nvPr userDrawn="1"/>
        </p:nvGrpSpPr>
        <p:grpSpPr>
          <a:xfrm>
            <a:off x="1343" y="6451068"/>
            <a:ext cx="9142657" cy="406932"/>
            <a:chOff x="1343" y="6451068"/>
            <a:chExt cx="9142657" cy="406932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1343" y="6451068"/>
              <a:ext cx="3274513" cy="406932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3275856" y="6451068"/>
              <a:ext cx="3491880" cy="406932"/>
            </a:xfrm>
            <a:prstGeom prst="rect">
              <a:avLst/>
            </a:prstGeom>
            <a:solidFill>
              <a:schemeClr val="accent5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6732240" y="6451068"/>
              <a:ext cx="2411760" cy="40693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4" name="TextBox 13"/>
          <p:cNvSpPr txBox="1"/>
          <p:nvPr userDrawn="1"/>
        </p:nvSpPr>
        <p:spPr>
          <a:xfrm>
            <a:off x="179512" y="6453499"/>
            <a:ext cx="30963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400"/>
              </a:lnSpc>
              <a:defRPr/>
            </a:pPr>
            <a:r>
              <a:rPr lang="ru-RU" b="1" dirty="0" smtClean="0">
                <a:solidFill>
                  <a:schemeClr val="accent5">
                    <a:lumMod val="90000"/>
                  </a:schemeClr>
                </a:solidFill>
                <a:latin typeface="Garamond" pitchFamily="18" charset="0"/>
              </a:rPr>
              <a:t>Министерство финансов</a:t>
            </a:r>
            <a:endParaRPr lang="ru-RU" b="1" dirty="0">
              <a:solidFill>
                <a:schemeClr val="accent5">
                  <a:lumMod val="90000"/>
                </a:schemeClr>
              </a:solidFill>
              <a:latin typeface="Garamond" pitchFamily="18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3193795" y="6446167"/>
            <a:ext cx="30963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  <a:defRPr/>
            </a:pPr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latin typeface="Garamond" pitchFamily="18" charset="0"/>
              </a:rPr>
              <a:t>Ставропольского края</a:t>
            </a:r>
            <a:endParaRPr lang="ru-RU" b="1" dirty="0">
              <a:solidFill>
                <a:schemeClr val="accent6">
                  <a:lumMod val="75000"/>
                </a:schemeClr>
              </a:solidFill>
              <a:latin typeface="Garamond" pitchFamily="18" charset="0"/>
            </a:endParaRPr>
          </a:p>
        </p:txBody>
      </p:sp>
      <p:grpSp>
        <p:nvGrpSpPr>
          <p:cNvPr id="16" name="Группа 9"/>
          <p:cNvGrpSpPr/>
          <p:nvPr userDrawn="1"/>
        </p:nvGrpSpPr>
        <p:grpSpPr>
          <a:xfrm>
            <a:off x="0" y="-83731"/>
            <a:ext cx="9144000" cy="200363"/>
            <a:chOff x="0" y="-11723"/>
            <a:chExt cx="9144000" cy="200363"/>
          </a:xfrm>
        </p:grpSpPr>
        <p:sp>
          <p:nvSpPr>
            <p:cNvPr id="17" name="Прямоугольник 16"/>
            <p:cNvSpPr/>
            <p:nvPr/>
          </p:nvSpPr>
          <p:spPr>
            <a:xfrm>
              <a:off x="0" y="-11723"/>
              <a:ext cx="5652120" cy="20036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5652120" y="-11723"/>
              <a:ext cx="3491880" cy="20036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758550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EA2A8D-A9AC-4970-95F9-8E41B57C10B0}" type="datetime1">
              <a:rPr lang="ru-RU" smtClean="0"/>
              <a:pPr/>
              <a:t>12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E3E53A-829A-44CA-85A0-4551364FF5E1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418982" y="-315416"/>
            <a:ext cx="8617514" cy="1496507"/>
            <a:chOff x="202958" y="-11723"/>
            <a:chExt cx="8617514" cy="1352491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611560" y="188640"/>
              <a:ext cx="8208912" cy="1152128"/>
            </a:xfrm>
            <a:prstGeom prst="round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Скругленный прямоугольник 8"/>
            <p:cNvSpPr/>
            <p:nvPr/>
          </p:nvSpPr>
          <p:spPr>
            <a:xfrm>
              <a:off x="202958" y="-11723"/>
              <a:ext cx="8568952" cy="134076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0" name="Группа 9"/>
          <p:cNvGrpSpPr/>
          <p:nvPr userDrawn="1"/>
        </p:nvGrpSpPr>
        <p:grpSpPr>
          <a:xfrm>
            <a:off x="1343" y="6451068"/>
            <a:ext cx="9142657" cy="406932"/>
            <a:chOff x="1343" y="6451068"/>
            <a:chExt cx="9142657" cy="406932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1343" y="6451068"/>
              <a:ext cx="3274513" cy="406932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3275856" y="6451068"/>
              <a:ext cx="3491880" cy="406932"/>
            </a:xfrm>
            <a:prstGeom prst="rect">
              <a:avLst/>
            </a:prstGeom>
            <a:solidFill>
              <a:schemeClr val="accent5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6732240" y="6451068"/>
              <a:ext cx="2411760" cy="40693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4" name="TextBox 13"/>
          <p:cNvSpPr txBox="1"/>
          <p:nvPr userDrawn="1"/>
        </p:nvSpPr>
        <p:spPr>
          <a:xfrm>
            <a:off x="179512" y="6453499"/>
            <a:ext cx="30963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2400"/>
              </a:lnSpc>
              <a:defRPr/>
            </a:pPr>
            <a:r>
              <a:rPr lang="ru-RU" b="1" dirty="0" smtClean="0">
                <a:solidFill>
                  <a:schemeClr val="accent5">
                    <a:lumMod val="90000"/>
                  </a:schemeClr>
                </a:solidFill>
                <a:latin typeface="Garamond" pitchFamily="18" charset="0"/>
              </a:rPr>
              <a:t>Министерство финансов</a:t>
            </a:r>
            <a:endParaRPr lang="ru-RU" b="1" dirty="0">
              <a:solidFill>
                <a:schemeClr val="accent5">
                  <a:lumMod val="90000"/>
                </a:schemeClr>
              </a:solidFill>
              <a:latin typeface="Garamond" pitchFamily="18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3193795" y="6446167"/>
            <a:ext cx="30963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  <a:defRPr/>
            </a:pPr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latin typeface="Garamond" pitchFamily="18" charset="0"/>
              </a:rPr>
              <a:t>Ставропольского края</a:t>
            </a:r>
            <a:endParaRPr lang="ru-RU" b="1" dirty="0">
              <a:solidFill>
                <a:schemeClr val="accent6">
                  <a:lumMod val="75000"/>
                </a:schemeClr>
              </a:solidFill>
              <a:latin typeface="Garamond" pitchFamily="18" charset="0"/>
            </a:endParaRPr>
          </a:p>
        </p:txBody>
      </p:sp>
      <p:grpSp>
        <p:nvGrpSpPr>
          <p:cNvPr id="16" name="Группа 9"/>
          <p:cNvGrpSpPr/>
          <p:nvPr userDrawn="1"/>
        </p:nvGrpSpPr>
        <p:grpSpPr>
          <a:xfrm>
            <a:off x="0" y="-83731"/>
            <a:ext cx="9144000" cy="200363"/>
            <a:chOff x="0" y="-11723"/>
            <a:chExt cx="9144000" cy="200363"/>
          </a:xfrm>
        </p:grpSpPr>
        <p:sp>
          <p:nvSpPr>
            <p:cNvPr id="17" name="Прямоугольник 16"/>
            <p:cNvSpPr/>
            <p:nvPr/>
          </p:nvSpPr>
          <p:spPr>
            <a:xfrm>
              <a:off x="0" y="-11723"/>
              <a:ext cx="5652120" cy="20036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5652120" y="-11723"/>
              <a:ext cx="3491880" cy="20036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478447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A2E0D8-28BA-451D-899D-8DB94CCE43ED}" type="datetime1">
              <a:rPr lang="ru-RU" smtClean="0"/>
              <a:pPr/>
              <a:t>12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 b="1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49" r:id="rId2"/>
    <p:sldLayoutId id="2147483692" r:id="rId3"/>
    <p:sldLayoutId id="2147483666" r:id="rId4"/>
    <p:sldLayoutId id="2147483667" r:id="rId5"/>
    <p:sldLayoutId id="2147483668" r:id="rId6"/>
    <p:sldLayoutId id="2147483663" r:id="rId7"/>
    <p:sldLayoutId id="2147483664" r:id="rId8"/>
    <p:sldLayoutId id="2147483665" r:id="rId9"/>
    <p:sldLayoutId id="2147483669" r:id="rId10"/>
    <p:sldLayoutId id="2147483650" r:id="rId11"/>
    <p:sldLayoutId id="2147483651" r:id="rId12"/>
    <p:sldLayoutId id="2147483690" r:id="rId13"/>
    <p:sldLayoutId id="2147483676" r:id="rId14"/>
    <p:sldLayoutId id="2147483677" r:id="rId15"/>
    <p:sldLayoutId id="2147483679" r:id="rId16"/>
    <p:sldLayoutId id="2147483680" r:id="rId17"/>
    <p:sldLayoutId id="2147483682" r:id="rId18"/>
    <p:sldLayoutId id="2147483684" r:id="rId19"/>
    <p:sldLayoutId id="2147483685" r:id="rId20"/>
    <p:sldLayoutId id="2147483686" r:id="rId21"/>
    <p:sldLayoutId id="2147483687" r:id="rId22"/>
    <p:sldLayoutId id="2147483688" r:id="rId23"/>
    <p:sldLayoutId id="2147483689" r:id="rId24"/>
    <p:sldLayoutId id="2147483693" r:id="rId25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72.xml"/><Relationship Id="rId7" Type="http://schemas.openxmlformats.org/officeDocument/2006/relationships/image" Target="../media/image7.emf"/><Relationship Id="rId2" Type="http://schemas.openxmlformats.org/officeDocument/2006/relationships/tags" Target="../tags/tag7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11.jpeg"/><Relationship Id="rId4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18" Type="http://schemas.openxmlformats.org/officeDocument/2006/relationships/tags" Target="../tags/tag89.xml"/><Relationship Id="rId26" Type="http://schemas.openxmlformats.org/officeDocument/2006/relationships/chart" Target="../charts/chart8.xml"/><Relationship Id="rId3" Type="http://schemas.openxmlformats.org/officeDocument/2006/relationships/tags" Target="../tags/tag74.xml"/><Relationship Id="rId21" Type="http://schemas.openxmlformats.org/officeDocument/2006/relationships/tags" Target="../tags/tag92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17" Type="http://schemas.openxmlformats.org/officeDocument/2006/relationships/tags" Target="../tags/tag88.xml"/><Relationship Id="rId25" Type="http://schemas.openxmlformats.org/officeDocument/2006/relationships/image" Target="../media/image7.emf"/><Relationship Id="rId2" Type="http://schemas.openxmlformats.org/officeDocument/2006/relationships/tags" Target="../tags/tag73.xml"/><Relationship Id="rId16" Type="http://schemas.openxmlformats.org/officeDocument/2006/relationships/tags" Target="../tags/tag87.xml"/><Relationship Id="rId20" Type="http://schemas.openxmlformats.org/officeDocument/2006/relationships/tags" Target="../tags/tag91.xml"/><Relationship Id="rId1" Type="http://schemas.openxmlformats.org/officeDocument/2006/relationships/vmlDrawing" Target="../drawings/vmlDrawing7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24" Type="http://schemas.openxmlformats.org/officeDocument/2006/relationships/oleObject" Target="../embeddings/oleObject7.bin"/><Relationship Id="rId5" Type="http://schemas.openxmlformats.org/officeDocument/2006/relationships/tags" Target="../tags/tag76.xml"/><Relationship Id="rId15" Type="http://schemas.openxmlformats.org/officeDocument/2006/relationships/tags" Target="../tags/tag86.xml"/><Relationship Id="rId23" Type="http://schemas.openxmlformats.org/officeDocument/2006/relationships/slideLayout" Target="../slideLayouts/slideLayout3.xml"/><Relationship Id="rId10" Type="http://schemas.openxmlformats.org/officeDocument/2006/relationships/tags" Target="../tags/tag81.xml"/><Relationship Id="rId19" Type="http://schemas.openxmlformats.org/officeDocument/2006/relationships/tags" Target="../tags/tag90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tags" Target="../tags/tag85.xml"/><Relationship Id="rId22" Type="http://schemas.openxmlformats.org/officeDocument/2006/relationships/tags" Target="../tags/tag9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13" Type="http://schemas.openxmlformats.org/officeDocument/2006/relationships/oleObject" Target="../embeddings/oleObject8.bin"/><Relationship Id="rId18" Type="http://schemas.openxmlformats.org/officeDocument/2006/relationships/diagramColors" Target="../diagrams/colors1.xml"/><Relationship Id="rId3" Type="http://schemas.openxmlformats.org/officeDocument/2006/relationships/tags" Target="../tags/tag95.xml"/><Relationship Id="rId21" Type="http://schemas.openxmlformats.org/officeDocument/2006/relationships/image" Target="../media/image14.png"/><Relationship Id="rId7" Type="http://schemas.openxmlformats.org/officeDocument/2006/relationships/tags" Target="../tags/tag99.xml"/><Relationship Id="rId12" Type="http://schemas.openxmlformats.org/officeDocument/2006/relationships/notesSlide" Target="../notesSlides/notesSlide4.xml"/><Relationship Id="rId17" Type="http://schemas.openxmlformats.org/officeDocument/2006/relationships/diagramQuickStyle" Target="../diagrams/quickStyle1.xml"/><Relationship Id="rId2" Type="http://schemas.openxmlformats.org/officeDocument/2006/relationships/tags" Target="../tags/tag94.xml"/><Relationship Id="rId16" Type="http://schemas.openxmlformats.org/officeDocument/2006/relationships/diagramLayout" Target="../diagrams/layout1.xml"/><Relationship Id="rId20" Type="http://schemas.openxmlformats.org/officeDocument/2006/relationships/image" Target="../media/image13.png"/><Relationship Id="rId1" Type="http://schemas.openxmlformats.org/officeDocument/2006/relationships/vmlDrawing" Target="../drawings/vmlDrawing8.vml"/><Relationship Id="rId6" Type="http://schemas.openxmlformats.org/officeDocument/2006/relationships/tags" Target="../tags/tag98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97.xml"/><Relationship Id="rId15" Type="http://schemas.openxmlformats.org/officeDocument/2006/relationships/diagramData" Target="../diagrams/data1.xml"/><Relationship Id="rId10" Type="http://schemas.openxmlformats.org/officeDocument/2006/relationships/tags" Target="../tags/tag102.xml"/><Relationship Id="rId19" Type="http://schemas.microsoft.com/office/2007/relationships/diagramDrawing" Target="../diagrams/drawing1.xml"/><Relationship Id="rId4" Type="http://schemas.openxmlformats.org/officeDocument/2006/relationships/tags" Target="../tags/tag96.xml"/><Relationship Id="rId9" Type="http://schemas.openxmlformats.org/officeDocument/2006/relationships/tags" Target="../tags/tag101.xml"/><Relationship Id="rId14" Type="http://schemas.openxmlformats.org/officeDocument/2006/relationships/image" Target="../media/image7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04.xml"/><Relationship Id="rId1" Type="http://schemas.openxmlformats.org/officeDocument/2006/relationships/tags" Target="../tags/tag10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oleObject" Target="../embeddings/oleObject1.bin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image" Target="../media/image8.png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chart" Target="../charts/chart1.xml"/><Relationship Id="rId10" Type="http://schemas.openxmlformats.org/officeDocument/2006/relationships/tags" Target="../tags/tag10.xml"/><Relationship Id="rId19" Type="http://schemas.openxmlformats.org/officeDocument/2006/relationships/slideLayout" Target="../slideLayouts/slideLayout3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7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3" Type="http://schemas.openxmlformats.org/officeDocument/2006/relationships/tags" Target="../tags/tag21.xml"/><Relationship Id="rId21" Type="http://schemas.openxmlformats.org/officeDocument/2006/relationships/oleObject" Target="../embeddings/oleObject2.bin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" Type="http://schemas.openxmlformats.org/officeDocument/2006/relationships/tags" Target="../tags/tag20.xml"/><Relationship Id="rId16" Type="http://schemas.openxmlformats.org/officeDocument/2006/relationships/tags" Target="../tags/tag34.xml"/><Relationship Id="rId20" Type="http://schemas.openxmlformats.org/officeDocument/2006/relationships/slideLayout" Target="../slideLayouts/slideLayout3.xml"/><Relationship Id="rId1" Type="http://schemas.openxmlformats.org/officeDocument/2006/relationships/vmlDrawing" Target="../drawings/vmlDrawing2.v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24" Type="http://schemas.openxmlformats.org/officeDocument/2006/relationships/image" Target="../media/image8.png"/><Relationship Id="rId5" Type="http://schemas.openxmlformats.org/officeDocument/2006/relationships/tags" Target="../tags/tag23.xml"/><Relationship Id="rId15" Type="http://schemas.openxmlformats.org/officeDocument/2006/relationships/tags" Target="../tags/tag33.xml"/><Relationship Id="rId23" Type="http://schemas.openxmlformats.org/officeDocument/2006/relationships/chart" Target="../charts/chart2.xml"/><Relationship Id="rId10" Type="http://schemas.openxmlformats.org/officeDocument/2006/relationships/tags" Target="../tags/tag28.xml"/><Relationship Id="rId19" Type="http://schemas.openxmlformats.org/officeDocument/2006/relationships/tags" Target="../tags/tag37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Relationship Id="rId22" Type="http://schemas.openxmlformats.org/officeDocument/2006/relationships/image" Target="../media/image7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chart" Target="../charts/chart3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42.xml"/><Relationship Id="rId4" Type="http://schemas.openxmlformats.org/officeDocument/2006/relationships/tags" Target="../tags/tag4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notesSlide" Target="../notesSlides/notesSlide1.xml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12" Type="http://schemas.openxmlformats.org/officeDocument/2006/relationships/slideLayout" Target="../slideLayouts/slideLayout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.v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5" Type="http://schemas.openxmlformats.org/officeDocument/2006/relationships/tags" Target="../tags/tag46.xml"/><Relationship Id="rId15" Type="http://schemas.openxmlformats.org/officeDocument/2006/relationships/image" Target="../media/image7.emf"/><Relationship Id="rId10" Type="http://schemas.openxmlformats.org/officeDocument/2006/relationships/tags" Target="../tags/tag51.xml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4" Type="http://schemas.openxmlformats.org/officeDocument/2006/relationships/chart" Target="../charts/char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oleObject" Target="../embeddings/oleObject4.bin"/><Relationship Id="rId18" Type="http://schemas.openxmlformats.org/officeDocument/2006/relationships/chart" Target="../charts/chart6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notesSlide" Target="../notesSlides/notesSlide2.xml"/><Relationship Id="rId17" Type="http://schemas.openxmlformats.org/officeDocument/2006/relationships/image" Target="../media/image10.png"/><Relationship Id="rId2" Type="http://schemas.openxmlformats.org/officeDocument/2006/relationships/tags" Target="../tags/tag55.xml"/><Relationship Id="rId16" Type="http://schemas.openxmlformats.org/officeDocument/2006/relationships/chart" Target="../charts/chart5.xml"/><Relationship Id="rId1" Type="http://schemas.openxmlformats.org/officeDocument/2006/relationships/vmlDrawing" Target="../drawings/vmlDrawing4.vml"/><Relationship Id="rId6" Type="http://schemas.openxmlformats.org/officeDocument/2006/relationships/tags" Target="../tags/tag59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58.xml"/><Relationship Id="rId15" Type="http://schemas.openxmlformats.org/officeDocument/2006/relationships/image" Target="../media/image9.png"/><Relationship Id="rId10" Type="http://schemas.openxmlformats.org/officeDocument/2006/relationships/tags" Target="../tags/tag63.xml"/><Relationship Id="rId19" Type="http://schemas.openxmlformats.org/officeDocument/2006/relationships/chart" Target="../charts/chart7.xml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image" Target="../media/image7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12" Type="http://schemas.openxmlformats.org/officeDocument/2006/relationships/image" Target="../media/image7.emf"/><Relationship Id="rId2" Type="http://schemas.openxmlformats.org/officeDocument/2006/relationships/tags" Target="../tags/tag64.xml"/><Relationship Id="rId1" Type="http://schemas.openxmlformats.org/officeDocument/2006/relationships/vmlDrawing" Target="../drawings/vmlDrawing5.vml"/><Relationship Id="rId6" Type="http://schemas.openxmlformats.org/officeDocument/2006/relationships/tags" Target="../tags/tag68.xml"/><Relationship Id="rId11" Type="http://schemas.openxmlformats.org/officeDocument/2006/relationships/oleObject" Target="../embeddings/oleObject5.bin"/><Relationship Id="rId5" Type="http://schemas.openxmlformats.org/officeDocument/2006/relationships/tags" Target="../tags/tag67.xml"/><Relationship Id="rId10" Type="http://schemas.openxmlformats.org/officeDocument/2006/relationships/notesSlide" Target="../notesSlides/notesSlide3.xml"/><Relationship Id="rId4" Type="http://schemas.openxmlformats.org/officeDocument/2006/relationships/tags" Target="../tags/tag66.xml"/><Relationship Id="rId9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30"/>
          <p:cNvGrpSpPr/>
          <p:nvPr/>
        </p:nvGrpSpPr>
        <p:grpSpPr>
          <a:xfrm flipV="1">
            <a:off x="0" y="6726510"/>
            <a:ext cx="9144000" cy="88747"/>
            <a:chOff x="0" y="-11723"/>
            <a:chExt cx="9144000" cy="200363"/>
          </a:xfrm>
        </p:grpSpPr>
        <p:sp>
          <p:nvSpPr>
            <p:cNvPr id="32" name="Прямоугольник 31"/>
            <p:cNvSpPr/>
            <p:nvPr/>
          </p:nvSpPr>
          <p:spPr>
            <a:xfrm>
              <a:off x="0" y="-11723"/>
              <a:ext cx="5652120" cy="20036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5652120" y="-11723"/>
              <a:ext cx="3491880" cy="20036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3" name="Группа 33"/>
          <p:cNvGrpSpPr/>
          <p:nvPr/>
        </p:nvGrpSpPr>
        <p:grpSpPr>
          <a:xfrm flipV="1">
            <a:off x="-4242" y="59482"/>
            <a:ext cx="9144000" cy="88747"/>
            <a:chOff x="0" y="-11723"/>
            <a:chExt cx="9144000" cy="200363"/>
          </a:xfrm>
        </p:grpSpPr>
        <p:sp>
          <p:nvSpPr>
            <p:cNvPr id="35" name="Прямоугольник 34"/>
            <p:cNvSpPr/>
            <p:nvPr/>
          </p:nvSpPr>
          <p:spPr>
            <a:xfrm>
              <a:off x="0" y="-11723"/>
              <a:ext cx="5652120" cy="20036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5652120" y="-11723"/>
              <a:ext cx="3491880" cy="200363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5" name="Группа 7174"/>
          <p:cNvGrpSpPr/>
          <p:nvPr/>
        </p:nvGrpSpPr>
        <p:grpSpPr>
          <a:xfrm>
            <a:off x="4790656" y="3625974"/>
            <a:ext cx="3493020" cy="1668716"/>
            <a:chOff x="4763641" y="3625974"/>
            <a:chExt cx="3493020" cy="1668716"/>
          </a:xfrm>
        </p:grpSpPr>
        <p:cxnSp>
          <p:nvCxnSpPr>
            <p:cNvPr id="28" name="Прямая соединительная линия 27"/>
            <p:cNvCxnSpPr/>
            <p:nvPr/>
          </p:nvCxnSpPr>
          <p:spPr>
            <a:xfrm flipV="1">
              <a:off x="4979665" y="3625974"/>
              <a:ext cx="0" cy="1668716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accent6">
                      <a:lumMod val="75000"/>
                      <a:alpha val="51000"/>
                    </a:schemeClr>
                  </a:gs>
                  <a:gs pos="50000">
                    <a:schemeClr val="accent6">
                      <a:lumMod val="60000"/>
                      <a:lumOff val="40000"/>
                      <a:alpha val="49000"/>
                    </a:schemeClr>
                  </a:gs>
                  <a:gs pos="100000">
                    <a:schemeClr val="accent6">
                      <a:lumMod val="20000"/>
                      <a:lumOff val="80000"/>
                      <a:alpha val="9000"/>
                    </a:schemeClr>
                  </a:gs>
                </a:gsLst>
                <a:lin ang="54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Прямая соединительная линия 38"/>
            <p:cNvCxnSpPr/>
            <p:nvPr/>
          </p:nvCxnSpPr>
          <p:spPr>
            <a:xfrm>
              <a:off x="4763641" y="5157192"/>
              <a:ext cx="3493020" cy="0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accent6">
                      <a:lumMod val="75000"/>
                    </a:schemeClr>
                  </a:gs>
                  <a:gs pos="50000">
                    <a:schemeClr val="accent6">
                      <a:lumMod val="60000"/>
                      <a:lumOff val="40000"/>
                      <a:alpha val="47000"/>
                    </a:schemeClr>
                  </a:gs>
                  <a:gs pos="100000">
                    <a:schemeClr val="accent6">
                      <a:lumMod val="20000"/>
                      <a:lumOff val="80000"/>
                      <a:alpha val="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Прямая соединительная линия 41"/>
            <p:cNvCxnSpPr/>
            <p:nvPr/>
          </p:nvCxnSpPr>
          <p:spPr>
            <a:xfrm>
              <a:off x="4773166" y="5085184"/>
              <a:ext cx="1764000" cy="0"/>
            </a:xfrm>
            <a:prstGeom prst="line">
              <a:avLst/>
            </a:prstGeom>
            <a:ln>
              <a:gradFill flip="none" rotWithShape="1">
                <a:gsLst>
                  <a:gs pos="1000">
                    <a:schemeClr val="accent6">
                      <a:lumMod val="75000"/>
                      <a:alpha val="52000"/>
                    </a:schemeClr>
                  </a:gs>
                  <a:gs pos="52000">
                    <a:schemeClr val="accent6">
                      <a:lumMod val="60000"/>
                      <a:lumOff val="40000"/>
                      <a:alpha val="50000"/>
                    </a:schemeClr>
                  </a:gs>
                  <a:gs pos="100000">
                    <a:schemeClr val="accent6">
                      <a:lumMod val="20000"/>
                      <a:lumOff val="80000"/>
                      <a:alpha val="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Группа 7175"/>
          <p:cNvGrpSpPr/>
          <p:nvPr/>
        </p:nvGrpSpPr>
        <p:grpSpPr>
          <a:xfrm>
            <a:off x="4499992" y="5013176"/>
            <a:ext cx="4639766" cy="1872208"/>
            <a:chOff x="4499992" y="5013176"/>
            <a:chExt cx="4639766" cy="1872208"/>
          </a:xfrm>
        </p:grpSpPr>
        <p:cxnSp>
          <p:nvCxnSpPr>
            <p:cNvPr id="46" name="Прямая соединительная линия 45"/>
            <p:cNvCxnSpPr/>
            <p:nvPr/>
          </p:nvCxnSpPr>
          <p:spPr>
            <a:xfrm flipH="1">
              <a:off x="4499992" y="6237312"/>
              <a:ext cx="4639766" cy="0"/>
            </a:xfrm>
            <a:prstGeom prst="line">
              <a:avLst/>
            </a:prstGeom>
            <a:ln>
              <a:gradFill flip="none" rotWithShape="1">
                <a:gsLst>
                  <a:gs pos="1000">
                    <a:schemeClr val="accent6">
                      <a:lumMod val="75000"/>
                      <a:alpha val="52000"/>
                    </a:schemeClr>
                  </a:gs>
                  <a:gs pos="52000">
                    <a:schemeClr val="accent6">
                      <a:lumMod val="60000"/>
                      <a:lumOff val="40000"/>
                      <a:alpha val="50000"/>
                    </a:schemeClr>
                  </a:gs>
                  <a:gs pos="100000">
                    <a:schemeClr val="accent6">
                      <a:lumMod val="20000"/>
                      <a:lumOff val="80000"/>
                      <a:alpha val="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Прямая соединительная линия 48"/>
            <p:cNvCxnSpPr/>
            <p:nvPr/>
          </p:nvCxnSpPr>
          <p:spPr>
            <a:xfrm flipV="1">
              <a:off x="8388424" y="5013176"/>
              <a:ext cx="0" cy="1802082"/>
            </a:xfrm>
            <a:prstGeom prst="line">
              <a:avLst/>
            </a:prstGeom>
            <a:ln>
              <a:gradFill flip="none" rotWithShape="1">
                <a:gsLst>
                  <a:gs pos="1000">
                    <a:schemeClr val="accent6">
                      <a:lumMod val="75000"/>
                      <a:alpha val="52000"/>
                    </a:schemeClr>
                  </a:gs>
                  <a:gs pos="52000">
                    <a:schemeClr val="accent6">
                      <a:lumMod val="60000"/>
                      <a:lumOff val="40000"/>
                      <a:alpha val="50000"/>
                    </a:schemeClr>
                  </a:gs>
                  <a:gs pos="100000">
                    <a:schemeClr val="accent6">
                      <a:lumMod val="20000"/>
                      <a:lumOff val="80000"/>
                      <a:alpha val="0"/>
                    </a:schemeClr>
                  </a:gs>
                </a:gsLst>
                <a:lin ang="54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Прямая соединительная линия 51"/>
            <p:cNvCxnSpPr/>
            <p:nvPr/>
          </p:nvCxnSpPr>
          <p:spPr>
            <a:xfrm flipV="1">
              <a:off x="7308304" y="5013176"/>
              <a:ext cx="0" cy="1802082"/>
            </a:xfrm>
            <a:prstGeom prst="line">
              <a:avLst/>
            </a:prstGeom>
            <a:ln>
              <a:gradFill flip="none" rotWithShape="1">
                <a:gsLst>
                  <a:gs pos="1000">
                    <a:schemeClr val="accent6">
                      <a:lumMod val="75000"/>
                      <a:alpha val="52000"/>
                    </a:schemeClr>
                  </a:gs>
                  <a:gs pos="52000">
                    <a:schemeClr val="accent6">
                      <a:lumMod val="60000"/>
                      <a:lumOff val="40000"/>
                      <a:alpha val="50000"/>
                    </a:schemeClr>
                  </a:gs>
                  <a:gs pos="100000">
                    <a:schemeClr val="accent6">
                      <a:lumMod val="20000"/>
                      <a:lumOff val="80000"/>
                      <a:alpha val="0"/>
                    </a:schemeClr>
                  </a:gs>
                </a:gsLst>
                <a:lin ang="54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Прямая соединительная линия 52"/>
            <p:cNvCxnSpPr/>
            <p:nvPr/>
          </p:nvCxnSpPr>
          <p:spPr>
            <a:xfrm flipV="1">
              <a:off x="6309717" y="5013176"/>
              <a:ext cx="0" cy="1802082"/>
            </a:xfrm>
            <a:prstGeom prst="line">
              <a:avLst/>
            </a:prstGeom>
            <a:ln>
              <a:gradFill flip="none" rotWithShape="1">
                <a:gsLst>
                  <a:gs pos="1000">
                    <a:schemeClr val="accent6">
                      <a:lumMod val="75000"/>
                      <a:alpha val="52000"/>
                    </a:schemeClr>
                  </a:gs>
                  <a:gs pos="52000">
                    <a:schemeClr val="accent6">
                      <a:lumMod val="60000"/>
                      <a:lumOff val="40000"/>
                      <a:alpha val="50000"/>
                    </a:schemeClr>
                  </a:gs>
                  <a:gs pos="100000">
                    <a:schemeClr val="accent6">
                      <a:lumMod val="20000"/>
                      <a:lumOff val="80000"/>
                      <a:alpha val="0"/>
                    </a:schemeClr>
                  </a:gs>
                </a:gsLst>
                <a:lin ang="54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Прямая соединительная линия 53"/>
            <p:cNvCxnSpPr/>
            <p:nvPr/>
          </p:nvCxnSpPr>
          <p:spPr>
            <a:xfrm flipV="1">
              <a:off x="5292080" y="5083302"/>
              <a:ext cx="0" cy="1802082"/>
            </a:xfrm>
            <a:prstGeom prst="line">
              <a:avLst/>
            </a:prstGeom>
            <a:ln>
              <a:gradFill flip="none" rotWithShape="1">
                <a:gsLst>
                  <a:gs pos="1000">
                    <a:schemeClr val="accent6">
                      <a:lumMod val="75000"/>
                      <a:alpha val="52000"/>
                    </a:schemeClr>
                  </a:gs>
                  <a:gs pos="52000">
                    <a:schemeClr val="accent6">
                      <a:lumMod val="60000"/>
                      <a:lumOff val="40000"/>
                      <a:alpha val="50000"/>
                    </a:schemeClr>
                  </a:gs>
                  <a:gs pos="100000">
                    <a:schemeClr val="accent6">
                      <a:lumMod val="20000"/>
                      <a:lumOff val="80000"/>
                      <a:alpha val="0"/>
                    </a:schemeClr>
                  </a:gs>
                </a:gsLst>
                <a:lin ang="540000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8" name="Прямая соединительная линия 57"/>
          <p:cNvCxnSpPr/>
          <p:nvPr/>
        </p:nvCxnSpPr>
        <p:spPr>
          <a:xfrm flipV="1">
            <a:off x="8372796" y="1842942"/>
            <a:ext cx="0" cy="1802082"/>
          </a:xfrm>
          <a:prstGeom prst="line">
            <a:avLst/>
          </a:prstGeom>
          <a:ln>
            <a:gradFill flip="none" rotWithShape="1">
              <a:gsLst>
                <a:gs pos="1000">
                  <a:schemeClr val="accent6">
                    <a:lumMod val="20000"/>
                    <a:lumOff val="80000"/>
                    <a:alpha val="0"/>
                  </a:schemeClr>
                </a:gs>
                <a:gs pos="52000">
                  <a:schemeClr val="accent6">
                    <a:lumMod val="75000"/>
                    <a:alpha val="70000"/>
                  </a:schemeClr>
                </a:gs>
                <a:gs pos="100000">
                  <a:schemeClr val="accent6">
                    <a:lumMod val="20000"/>
                    <a:lumOff val="80000"/>
                    <a:alpha val="0"/>
                  </a:schemeClr>
                </a:gs>
              </a:gsLst>
              <a:lin ang="54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/>
          <p:cNvCxnSpPr/>
          <p:nvPr/>
        </p:nvCxnSpPr>
        <p:spPr>
          <a:xfrm flipH="1">
            <a:off x="7164288" y="3068141"/>
            <a:ext cx="1856580" cy="1"/>
          </a:xfrm>
          <a:prstGeom prst="line">
            <a:avLst/>
          </a:prstGeom>
          <a:ln>
            <a:gradFill flip="none" rotWithShape="1">
              <a:gsLst>
                <a:gs pos="1000">
                  <a:schemeClr val="accent6">
                    <a:lumMod val="20000"/>
                    <a:lumOff val="80000"/>
                    <a:alpha val="0"/>
                  </a:schemeClr>
                </a:gs>
                <a:gs pos="52000">
                  <a:schemeClr val="accent6">
                    <a:lumMod val="75000"/>
                    <a:alpha val="70000"/>
                  </a:schemeClr>
                </a:gs>
                <a:gs pos="100000">
                  <a:schemeClr val="accent6">
                    <a:lumMod val="20000"/>
                    <a:lumOff val="80000"/>
                    <a:alpha val="0"/>
                  </a:schemeClr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70" name="Прямоугольник 1"/>
          <p:cNvSpPr>
            <a:spLocks noChangeArrowheads="1"/>
          </p:cNvSpPr>
          <p:nvPr/>
        </p:nvSpPr>
        <p:spPr bwMode="auto">
          <a:xfrm>
            <a:off x="4956813" y="3661243"/>
            <a:ext cx="4207988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</a:pPr>
            <a:r>
              <a:rPr lang="ru-RU" sz="1400" i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Times New Roman" pitchFamily="18" charset="0"/>
              </a:rPr>
              <a:t>Заместитель главы администрации города, руководитель финансового управления администрации города Невинномысска</a:t>
            </a:r>
            <a:endParaRPr lang="en-US" sz="1400" i="1" dirty="0" smtClean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Times New Roman" pitchFamily="18" charset="0"/>
            </a:endParaRPr>
          </a:p>
          <a:p>
            <a:pPr>
              <a:lnSpc>
                <a:spcPts val="1500"/>
              </a:lnSpc>
            </a:pPr>
            <a:endParaRPr lang="ru-RU" sz="1400" i="1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Times New Roman" pitchFamily="18" charset="0"/>
            </a:endParaRPr>
          </a:p>
          <a:p>
            <a:r>
              <a:rPr lang="ru-RU" sz="1400" b="1" i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Times New Roman" pitchFamily="18" charset="0"/>
              </a:rPr>
              <a:t>Колбасова Ольга Викторовна</a:t>
            </a:r>
            <a:endParaRPr lang="ru-RU" sz="1400" b="1" i="1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Times New Roman" pitchFamily="18" charset="0"/>
            </a:endParaRPr>
          </a:p>
        </p:txBody>
      </p:sp>
      <p:sp>
        <p:nvSpPr>
          <p:cNvPr id="4" name="Прямоугольник 2"/>
          <p:cNvSpPr>
            <a:spLocks noChangeArrowheads="1"/>
          </p:cNvSpPr>
          <p:nvPr/>
        </p:nvSpPr>
        <p:spPr bwMode="auto">
          <a:xfrm>
            <a:off x="539552" y="459095"/>
            <a:ext cx="828040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400" b="1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cs typeface="Times New Roman" pitchFamily="18" charset="0"/>
              </a:rPr>
              <a:t>Проект решения Думы города Невинномысска </a:t>
            </a:r>
          </a:p>
          <a:p>
            <a:pPr algn="ctr">
              <a:defRPr/>
            </a:pPr>
            <a:r>
              <a:rPr lang="ru-RU" sz="2400" b="1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cs typeface="Times New Roman" pitchFamily="18" charset="0"/>
              </a:rPr>
              <a:t>«О бюджете города Невинномысска </a:t>
            </a:r>
          </a:p>
          <a:p>
            <a:pPr algn="ctr">
              <a:defRPr/>
            </a:pPr>
            <a:r>
              <a:rPr lang="ru-RU" sz="2400" b="1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cs typeface="Times New Roman" pitchFamily="18" charset="0"/>
              </a:rPr>
              <a:t>на 2021 год и на плановый </a:t>
            </a:r>
          </a:p>
          <a:p>
            <a:pPr algn="ctr">
              <a:defRPr/>
            </a:pPr>
            <a:r>
              <a:rPr lang="ru-RU" sz="2400" b="1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cs typeface="Times New Roman" pitchFamily="18" charset="0"/>
              </a:rPr>
              <a:t>период 2022 и 2023 годов»</a:t>
            </a:r>
            <a:endParaRPr lang="ru-RU" sz="2400" b="1" i="1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  <a:cs typeface="Times New Roman" pitchFamily="18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37" y="1916832"/>
            <a:ext cx="4850795" cy="4392487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2411760" y="3210417"/>
            <a:ext cx="1072886" cy="831113"/>
          </a:xfrm>
          <a:prstGeom prst="rect">
            <a:avLst/>
          </a:prstGeom>
          <a:solidFill>
            <a:srgbClr val="A4C0B4"/>
          </a:solidFill>
          <a:ln>
            <a:solidFill>
              <a:srgbClr val="A4C0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i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Бюджет</a:t>
            </a:r>
          </a:p>
          <a:p>
            <a:pPr algn="ctr"/>
            <a:r>
              <a:rPr lang="ru-RU" sz="1400" b="1" i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2021 года</a:t>
            </a:r>
            <a:endParaRPr lang="ru-RU" sz="1400" b="1" i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3141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9" descr="http://moziru.com/images/asphalt-clipart-zigzag-road-1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0960" y="274625"/>
            <a:ext cx="4104456" cy="6530280"/>
          </a:xfrm>
          <a:prstGeom prst="rect">
            <a:avLst/>
          </a:prstGeom>
        </p:spPr>
      </p:pic>
      <p:graphicFrame>
        <p:nvGraphicFramePr>
          <p:cNvPr id="30" name="Объект 2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916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Номер слайда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F01F4732-32EE-4C7F-AC1F-76C1CDFF52B7}" type="slidenum">
              <a:rPr lang="ru-RU">
                <a:ln>
                  <a:solidFill>
                    <a:schemeClr val="accent6">
                      <a:lumMod val="75000"/>
                    </a:schemeClr>
                  </a:solidFill>
                </a:ln>
                <a:latin typeface="+mn-lt"/>
              </a:rPr>
              <a:pPr>
                <a:defRPr/>
              </a:pPr>
              <a:t>10</a:t>
            </a:fld>
            <a:endParaRPr lang="ru-RU" dirty="0">
              <a:ln>
                <a:solidFill>
                  <a:schemeClr val="accent6">
                    <a:lumMod val="75000"/>
                  </a:schemeClr>
                </a:solidFill>
              </a:ln>
              <a:latin typeface="+mn-lt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308304" y="870984"/>
            <a:ext cx="1686689" cy="338532"/>
          </a:xfrm>
          <a:prstGeom prst="rect">
            <a:avLst/>
          </a:prstGeom>
          <a:noFill/>
        </p:spPr>
        <p:txBody>
          <a:bodyPr wrap="square" lIns="91420" tIns="45709" rIns="91420" bIns="45709">
            <a:spAutoFit/>
          </a:bodyPr>
          <a:lstStyle/>
          <a:p>
            <a:pPr algn="r">
              <a:defRPr/>
            </a:pPr>
            <a:r>
              <a:rPr lang="ru-RU" sz="1600" i="1" dirty="0" smtClean="0">
                <a:ln>
                  <a:solidFill>
                    <a:schemeClr val="tx1"/>
                  </a:solidFill>
                </a:ln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млн. рублей</a:t>
            </a:r>
            <a:endParaRPr lang="ru-RU" sz="1600" i="1" dirty="0">
              <a:ln>
                <a:solidFill>
                  <a:schemeClr val="tx1"/>
                </a:solidFill>
              </a:ln>
              <a:latin typeface="Century Gothic" panose="020B050202020202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2" name="Прямоугольник 41"/>
          <p:cNvSpPr/>
          <p:nvPr>
            <p:custDataLst>
              <p:tags r:id="rId3"/>
            </p:custDataLst>
          </p:nvPr>
        </p:nvSpPr>
        <p:spPr>
          <a:xfrm>
            <a:off x="755576" y="367574"/>
            <a:ext cx="9144000" cy="7557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500"/>
              </a:lnSpc>
              <a:spcBef>
                <a:spcPct val="0"/>
              </a:spcBef>
              <a:defRPr/>
            </a:pPr>
            <a:r>
              <a:rPr lang="ru-RU" altLang="ru-RU" sz="2800" dirty="0" smtClean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Дорожная деятельность </a:t>
            </a:r>
          </a:p>
          <a:p>
            <a:pPr algn="ctr">
              <a:lnSpc>
                <a:spcPts val="2500"/>
              </a:lnSpc>
              <a:spcBef>
                <a:spcPct val="0"/>
              </a:spcBef>
              <a:defRPr/>
            </a:pPr>
            <a:r>
              <a:rPr lang="ru-RU" altLang="ru-RU" sz="2800" dirty="0" smtClean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в 2021 году</a:t>
            </a: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3719867" y="1444013"/>
            <a:ext cx="4995531" cy="653638"/>
          </a:xfrm>
          <a:prstGeom prst="roundRect">
            <a:avLst>
              <a:gd name="adj" fmla="val 50000"/>
            </a:avLst>
          </a:prstGeom>
          <a:solidFill>
            <a:srgbClr val="FFDE75">
              <a:alpha val="74000"/>
            </a:srgbClr>
          </a:solidFill>
          <a:ln>
            <a:noFill/>
          </a:ln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48000" rIns="144000" rtlCol="0" anchor="ctr"/>
          <a:lstStyle/>
          <a:p>
            <a:pPr algn="just">
              <a:defRPr/>
            </a:pPr>
            <a:r>
              <a:rPr lang="ru-RU" sz="11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Ремонт автомобильной дороги по улицам Железнодорожная, Кооперативная</a:t>
            </a:r>
            <a:endParaRPr lang="ru-RU" sz="11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3731427" y="2149564"/>
            <a:ext cx="5022327" cy="654537"/>
          </a:xfrm>
          <a:prstGeom prst="roundRect">
            <a:avLst>
              <a:gd name="adj" fmla="val 50000"/>
            </a:avLst>
          </a:prstGeom>
          <a:solidFill>
            <a:srgbClr val="FFDE75">
              <a:alpha val="74000"/>
            </a:srgbClr>
          </a:solidFill>
          <a:ln>
            <a:noFill/>
          </a:ln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48000" rIns="144000" rtlCol="0" anchor="ctr"/>
          <a:lstStyle/>
          <a:p>
            <a:pPr algn="just">
              <a:lnSpc>
                <a:spcPts val="2100"/>
              </a:lnSpc>
              <a:defRPr/>
            </a:pPr>
            <a:r>
              <a:rPr lang="ru-RU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Содержание дорог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3754215" y="2886892"/>
            <a:ext cx="4999539" cy="606604"/>
          </a:xfrm>
          <a:prstGeom prst="roundRect">
            <a:avLst>
              <a:gd name="adj" fmla="val 50000"/>
            </a:avLst>
          </a:prstGeom>
          <a:solidFill>
            <a:srgbClr val="F5B7B1">
              <a:alpha val="73725"/>
            </a:srgbClr>
          </a:solidFill>
          <a:ln>
            <a:noFill/>
          </a:ln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48000" rIns="144000" rtlCol="0" anchor="ctr"/>
          <a:lstStyle/>
          <a:p>
            <a:pPr algn="just">
              <a:defRPr/>
            </a:pPr>
            <a:r>
              <a:rPr lang="ru-RU" sz="11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Ремонт автомобильных дорог общего пользования местного значения в границах города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719867" y="4208894"/>
            <a:ext cx="5033888" cy="659053"/>
          </a:xfrm>
          <a:prstGeom prst="roundRect">
            <a:avLst>
              <a:gd name="adj" fmla="val 50000"/>
            </a:avLst>
          </a:prstGeom>
          <a:solidFill>
            <a:srgbClr val="83AEE1">
              <a:alpha val="73725"/>
            </a:srgbClr>
          </a:solidFill>
          <a:ln>
            <a:noFill/>
          </a:ln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48000" rIns="144000" rtlCol="0" anchor="ctr"/>
          <a:lstStyle/>
          <a:p>
            <a:pPr algn="just">
              <a:defRPr/>
            </a:pPr>
            <a:r>
              <a:rPr lang="ru-RU" sz="11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Реконструкция объекта «Путепровод по улице Гагарина через железную дорогу в городе Невинномысске»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3876124" y="1528471"/>
            <a:ext cx="1150419" cy="454681"/>
          </a:xfrm>
          <a:prstGeom prst="roundRect">
            <a:avLst>
              <a:gd name="adj" fmla="val 50000"/>
            </a:avLst>
          </a:prstGeom>
          <a:solidFill>
            <a:srgbClr val="FFDE75">
              <a:alpha val="8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180000" rtlCol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6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62,1</a:t>
            </a:r>
            <a:endParaRPr lang="ru-RU" sz="26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3876125" y="2240489"/>
            <a:ext cx="1150418" cy="454681"/>
          </a:xfrm>
          <a:prstGeom prst="roundRect">
            <a:avLst>
              <a:gd name="adj" fmla="val 50000"/>
            </a:avLst>
          </a:prstGeom>
          <a:solidFill>
            <a:srgbClr val="FFDE75">
              <a:alpha val="8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180000" rtlCol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6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30,2</a:t>
            </a:r>
            <a:endParaRPr lang="ru-RU" sz="26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3861709" y="4286420"/>
            <a:ext cx="1164834" cy="504000"/>
          </a:xfrm>
          <a:prstGeom prst="roundRect">
            <a:avLst>
              <a:gd name="adj" fmla="val 50000"/>
            </a:avLst>
          </a:prstGeom>
          <a:solidFill>
            <a:schemeClr val="tx2">
              <a:lumMod val="40000"/>
              <a:lumOff val="60000"/>
              <a:alpha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180000" rtlCol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6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372,2</a:t>
            </a:r>
            <a:endParaRPr lang="ru-RU" sz="26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9934" y="4915344"/>
            <a:ext cx="2695284" cy="1760093"/>
          </a:xfrm>
          <a:prstGeom prst="rect">
            <a:avLst/>
          </a:prstGeom>
        </p:spPr>
      </p:pic>
      <p:sp>
        <p:nvSpPr>
          <p:cNvPr id="33" name="Скругленный прямоугольник 32"/>
          <p:cNvSpPr/>
          <p:nvPr/>
        </p:nvSpPr>
        <p:spPr>
          <a:xfrm>
            <a:off x="3861709" y="2955293"/>
            <a:ext cx="1164834" cy="469482"/>
          </a:xfrm>
          <a:prstGeom prst="roundRect">
            <a:avLst>
              <a:gd name="adj" fmla="val 50000"/>
            </a:avLst>
          </a:prstGeom>
          <a:solidFill>
            <a:srgbClr val="F5B7B1">
              <a:alpha val="8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18000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6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6,9</a:t>
            </a:r>
            <a:endParaRPr lang="ru-RU" sz="26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3731428" y="3547893"/>
            <a:ext cx="5022327" cy="606604"/>
          </a:xfrm>
          <a:prstGeom prst="roundRect">
            <a:avLst>
              <a:gd name="adj" fmla="val 50000"/>
            </a:avLst>
          </a:prstGeom>
          <a:solidFill>
            <a:srgbClr val="F5B7B1">
              <a:alpha val="73725"/>
            </a:srgbClr>
          </a:solidFill>
          <a:ln>
            <a:noFill/>
          </a:ln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48000" rIns="144000" rtlCol="0" anchor="ctr"/>
          <a:lstStyle/>
          <a:p>
            <a:pPr algn="just">
              <a:defRPr/>
            </a:pPr>
            <a:r>
              <a:rPr lang="ru-RU" sz="11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Реализация мероприятий национального проекта «Безопасные и качественные автомобильные дороги»</a:t>
            </a: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3876125" y="3610902"/>
            <a:ext cx="1150418" cy="469482"/>
          </a:xfrm>
          <a:prstGeom prst="roundRect">
            <a:avLst>
              <a:gd name="adj" fmla="val 50000"/>
            </a:avLst>
          </a:prstGeom>
          <a:solidFill>
            <a:srgbClr val="F5B7B1">
              <a:alpha val="8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180000" rtlCol="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6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302,8</a:t>
            </a:r>
            <a:endParaRPr lang="ru-RU" sz="26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9048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Объект 2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88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Picture 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Диаграмма 5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18025300"/>
              </p:ext>
            </p:extLst>
          </p:nvPr>
        </p:nvGraphicFramePr>
        <p:xfrm>
          <a:off x="154701" y="-144463"/>
          <a:ext cx="8424936" cy="5958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cxnSp>
        <p:nvCxnSpPr>
          <p:cNvPr id="40" name="Прямая соединительная линия 39"/>
          <p:cNvCxnSpPr/>
          <p:nvPr>
            <p:custDataLst>
              <p:tags r:id="rId4"/>
            </p:custDataLst>
          </p:nvPr>
        </p:nvCxnSpPr>
        <p:spPr>
          <a:xfrm>
            <a:off x="647564" y="1599084"/>
            <a:ext cx="7956884" cy="29716"/>
          </a:xfrm>
          <a:prstGeom prst="line">
            <a:avLst/>
          </a:prstGeom>
          <a:ln w="66675" cap="rnd">
            <a:solidFill>
              <a:srgbClr val="75B7B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Стрелка вверх 51"/>
          <p:cNvSpPr/>
          <p:nvPr>
            <p:custDataLst>
              <p:tags r:id="rId5"/>
            </p:custDataLst>
          </p:nvPr>
        </p:nvSpPr>
        <p:spPr>
          <a:xfrm rot="6001545">
            <a:off x="7262582" y="3992534"/>
            <a:ext cx="434651" cy="491471"/>
          </a:xfrm>
          <a:prstGeom prst="upArrow">
            <a:avLst/>
          </a:prstGeom>
          <a:solidFill>
            <a:srgbClr val="75B7B1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3" name="Овал 52"/>
          <p:cNvSpPr/>
          <p:nvPr>
            <p:custDataLst>
              <p:tags r:id="rId6"/>
            </p:custDataLst>
          </p:nvPr>
        </p:nvSpPr>
        <p:spPr>
          <a:xfrm rot="2751273">
            <a:off x="6796646" y="4062647"/>
            <a:ext cx="217325" cy="217325"/>
          </a:xfrm>
          <a:prstGeom prst="ellipse">
            <a:avLst/>
          </a:prstGeom>
          <a:solidFill>
            <a:srgbClr val="75B7B1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4" name="Овал 53"/>
          <p:cNvSpPr/>
          <p:nvPr>
            <p:custDataLst>
              <p:tags r:id="rId7"/>
            </p:custDataLst>
          </p:nvPr>
        </p:nvSpPr>
        <p:spPr>
          <a:xfrm rot="2751273">
            <a:off x="6349879" y="4002769"/>
            <a:ext cx="217325" cy="217325"/>
          </a:xfrm>
          <a:prstGeom prst="ellipse">
            <a:avLst/>
          </a:prstGeom>
          <a:solidFill>
            <a:srgbClr val="84BEB8">
              <a:alpha val="9176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5" name="Овал 54"/>
          <p:cNvSpPr/>
          <p:nvPr>
            <p:custDataLst>
              <p:tags r:id="rId8"/>
            </p:custDataLst>
          </p:nvPr>
        </p:nvSpPr>
        <p:spPr>
          <a:xfrm rot="2751273">
            <a:off x="5936288" y="4000736"/>
            <a:ext cx="217325" cy="217325"/>
          </a:xfrm>
          <a:prstGeom prst="ellipse">
            <a:avLst/>
          </a:prstGeom>
          <a:solidFill>
            <a:schemeClr val="accent6">
              <a:lumMod val="60000"/>
              <a:lumOff val="40000"/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Овал 23"/>
          <p:cNvSpPr/>
          <p:nvPr>
            <p:custDataLst>
              <p:tags r:id="rId9"/>
            </p:custDataLst>
          </p:nvPr>
        </p:nvSpPr>
        <p:spPr>
          <a:xfrm rot="2751273">
            <a:off x="5031634" y="4007707"/>
            <a:ext cx="217325" cy="217325"/>
          </a:xfrm>
          <a:prstGeom prst="ellipse">
            <a:avLst/>
          </a:prstGeom>
          <a:solidFill>
            <a:schemeClr val="accent6">
              <a:lumMod val="60000"/>
              <a:lumOff val="40000"/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Овал 25"/>
          <p:cNvSpPr/>
          <p:nvPr>
            <p:custDataLst>
              <p:tags r:id="rId10"/>
            </p:custDataLst>
          </p:nvPr>
        </p:nvSpPr>
        <p:spPr>
          <a:xfrm rot="2751273">
            <a:off x="4565157" y="4026474"/>
            <a:ext cx="217325" cy="217325"/>
          </a:xfrm>
          <a:prstGeom prst="ellipse">
            <a:avLst/>
          </a:prstGeom>
          <a:solidFill>
            <a:schemeClr val="accent6">
              <a:lumMod val="60000"/>
              <a:lumOff val="40000"/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9" name="Овал 28"/>
          <p:cNvSpPr/>
          <p:nvPr>
            <p:custDataLst>
              <p:tags r:id="rId11"/>
            </p:custDataLst>
          </p:nvPr>
        </p:nvSpPr>
        <p:spPr>
          <a:xfrm rot="2751273">
            <a:off x="4130977" y="4014577"/>
            <a:ext cx="217325" cy="217325"/>
          </a:xfrm>
          <a:prstGeom prst="ellipse">
            <a:avLst/>
          </a:prstGeom>
          <a:solidFill>
            <a:schemeClr val="accent6">
              <a:lumMod val="60000"/>
              <a:lumOff val="40000"/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2" name="Овал 31"/>
          <p:cNvSpPr/>
          <p:nvPr>
            <p:custDataLst>
              <p:tags r:id="rId12"/>
            </p:custDataLst>
          </p:nvPr>
        </p:nvSpPr>
        <p:spPr>
          <a:xfrm rot="2751273">
            <a:off x="3656813" y="3936375"/>
            <a:ext cx="217325" cy="217325"/>
          </a:xfrm>
          <a:prstGeom prst="ellipse">
            <a:avLst/>
          </a:prstGeom>
          <a:solidFill>
            <a:schemeClr val="accent6">
              <a:lumMod val="60000"/>
              <a:lumOff val="40000"/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3" name="Овал 32"/>
          <p:cNvSpPr/>
          <p:nvPr>
            <p:custDataLst>
              <p:tags r:id="rId13"/>
            </p:custDataLst>
          </p:nvPr>
        </p:nvSpPr>
        <p:spPr>
          <a:xfrm rot="2751273">
            <a:off x="3182446" y="3841505"/>
            <a:ext cx="217325" cy="217325"/>
          </a:xfrm>
          <a:prstGeom prst="ellipse">
            <a:avLst/>
          </a:prstGeom>
          <a:solidFill>
            <a:schemeClr val="accent6">
              <a:lumMod val="60000"/>
              <a:lumOff val="40000"/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" name="Овал 33"/>
          <p:cNvSpPr/>
          <p:nvPr>
            <p:custDataLst>
              <p:tags r:id="rId14"/>
            </p:custDataLst>
          </p:nvPr>
        </p:nvSpPr>
        <p:spPr>
          <a:xfrm rot="2751273">
            <a:off x="2791526" y="3737266"/>
            <a:ext cx="217325" cy="217325"/>
          </a:xfrm>
          <a:prstGeom prst="ellipse">
            <a:avLst/>
          </a:prstGeom>
          <a:solidFill>
            <a:schemeClr val="accent6">
              <a:lumMod val="60000"/>
              <a:lumOff val="4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5" name="Овал 34"/>
          <p:cNvSpPr/>
          <p:nvPr>
            <p:custDataLst>
              <p:tags r:id="rId15"/>
            </p:custDataLst>
          </p:nvPr>
        </p:nvSpPr>
        <p:spPr>
          <a:xfrm rot="2751273">
            <a:off x="2356775" y="3659015"/>
            <a:ext cx="217325" cy="217325"/>
          </a:xfrm>
          <a:prstGeom prst="ellipse">
            <a:avLst/>
          </a:prstGeom>
          <a:solidFill>
            <a:schemeClr val="accent6">
              <a:lumMod val="60000"/>
              <a:lumOff val="40000"/>
              <a:alpha val="7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2" name="Овал 61"/>
          <p:cNvSpPr/>
          <p:nvPr>
            <p:custDataLst>
              <p:tags r:id="rId16"/>
            </p:custDataLst>
          </p:nvPr>
        </p:nvSpPr>
        <p:spPr>
          <a:xfrm rot="2751273">
            <a:off x="1924505" y="3629063"/>
            <a:ext cx="217325" cy="217325"/>
          </a:xfrm>
          <a:prstGeom prst="ellipse">
            <a:avLst/>
          </a:prstGeom>
          <a:solidFill>
            <a:schemeClr val="accent6">
              <a:lumMod val="60000"/>
              <a:lumOff val="4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Прямоугольник 20"/>
          <p:cNvSpPr/>
          <p:nvPr>
            <p:custDataLst>
              <p:tags r:id="rId17"/>
            </p:custDataLst>
          </p:nvPr>
        </p:nvSpPr>
        <p:spPr>
          <a:xfrm>
            <a:off x="0" y="188640"/>
            <a:ext cx="9144000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700"/>
              </a:lnSpc>
              <a:spcBef>
                <a:spcPct val="0"/>
              </a:spcBef>
              <a:defRPr/>
            </a:pPr>
            <a:r>
              <a:rPr lang="ru-RU" altLang="ru-RU" sz="3200" dirty="0" smtClean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Долговая нагрузка бюджета города Невинномысска в 2018-2023 годах</a:t>
            </a:r>
            <a:endParaRPr lang="ru-RU" altLang="ru-RU" sz="3200" dirty="0">
              <a:ln w="3175" cmpd="sng">
                <a:solidFill>
                  <a:schemeClr val="tx1"/>
                </a:solidFill>
                <a:prstDash val="solid"/>
              </a:ln>
              <a:latin typeface="Century Gothic" panose="020B0502020202020204" pitchFamily="34" charset="0"/>
              <a:cs typeface="Times New Roman" pitchFamily="18" charset="0"/>
            </a:endParaRPr>
          </a:p>
        </p:txBody>
      </p:sp>
      <p:sp>
        <p:nvSpPr>
          <p:cNvPr id="2" name="Овал 1"/>
          <p:cNvSpPr/>
          <p:nvPr>
            <p:custDataLst>
              <p:tags r:id="rId18"/>
            </p:custDataLst>
          </p:nvPr>
        </p:nvSpPr>
        <p:spPr>
          <a:xfrm>
            <a:off x="318656" y="1268760"/>
            <a:ext cx="683216" cy="683216"/>
          </a:xfrm>
          <a:prstGeom prst="ellipse">
            <a:avLst/>
          </a:prstGeom>
          <a:solidFill>
            <a:srgbClr val="75B7B1"/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b="1" dirty="0" smtClean="0"/>
              <a:t>100</a:t>
            </a:r>
            <a:endParaRPr lang="ru-RU" sz="2400" b="1" dirty="0"/>
          </a:p>
        </p:txBody>
      </p:sp>
      <p:sp>
        <p:nvSpPr>
          <p:cNvPr id="236546" name="AutoShape 2" descr="https://www.kryzalis.com.br/blog/wp-content/uploads/2017/10/como-administrar-uma-empresa-analise-concorrencia.png"/>
          <p:cNvSpPr>
            <a:spLocks noChangeAspect="1" noChangeArrowheads="1"/>
          </p:cNvSpPr>
          <p:nvPr>
            <p:custDataLst>
              <p:tags r:id="rId19"/>
            </p:custDataLst>
          </p:nvPr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36548" name="AutoShape 4" descr="https://www.kryzalis.com.br/blog/wp-content/uploads/2017/10/como-administrar-uma-empresa-analise-concorrencia.png"/>
          <p:cNvSpPr>
            <a:spLocks noChangeAspect="1" noChangeArrowheads="1"/>
          </p:cNvSpPr>
          <p:nvPr>
            <p:custDataLst>
              <p:tags r:id="rId20"/>
            </p:custDataLst>
          </p:nvPr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36550" name="AutoShape 6" descr="https://www.kryzalis.com.br/blog/wp-content/uploads/2017/10/como-administrar-uma-empresa-analise-concorrencia.png"/>
          <p:cNvSpPr>
            <a:spLocks noChangeAspect="1" noChangeArrowheads="1"/>
          </p:cNvSpPr>
          <p:nvPr>
            <p:custDataLst>
              <p:tags r:id="rId21"/>
            </p:custDataLst>
          </p:nvPr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5" name="Номер слайда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F01F4732-32EE-4C7F-AC1F-76C1CDFF52B7}" type="slidenum">
              <a:rPr lang="ru-RU">
                <a:ln>
                  <a:solidFill>
                    <a:schemeClr val="accent6">
                      <a:lumMod val="75000"/>
                    </a:schemeClr>
                  </a:solidFill>
                </a:ln>
                <a:latin typeface="+mn-lt"/>
              </a:rPr>
              <a:pPr>
                <a:defRPr/>
              </a:pPr>
              <a:t>11</a:t>
            </a:fld>
            <a:endParaRPr lang="ru-RU" dirty="0">
              <a:ln>
                <a:solidFill>
                  <a:schemeClr val="accent6">
                    <a:lumMod val="75000"/>
                  </a:schemeClr>
                </a:solidFill>
              </a:ln>
              <a:latin typeface="+mn-lt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341385" y="789707"/>
            <a:ext cx="1686689" cy="369310"/>
          </a:xfrm>
          <a:prstGeom prst="rect">
            <a:avLst/>
          </a:prstGeom>
          <a:noFill/>
        </p:spPr>
        <p:txBody>
          <a:bodyPr wrap="square" lIns="91420" tIns="45709" rIns="91420" bIns="45709">
            <a:spAutoFit/>
          </a:bodyPr>
          <a:lstStyle/>
          <a:p>
            <a:pPr algn="r">
              <a:defRPr/>
            </a:pPr>
            <a:r>
              <a:rPr lang="ru-RU" i="1" dirty="0" smtClean="0">
                <a:ln>
                  <a:solidFill>
                    <a:schemeClr val="tx1"/>
                  </a:solidFill>
                </a:ln>
                <a:ea typeface="Tahoma" pitchFamily="34" charset="0"/>
                <a:cs typeface="Tahoma" pitchFamily="34" charset="0"/>
              </a:rPr>
              <a:t>млн. рублей</a:t>
            </a:r>
            <a:endParaRPr lang="ru-RU" i="1" dirty="0">
              <a:ln>
                <a:solidFill>
                  <a:schemeClr val="tx1"/>
                </a:solidFill>
              </a:ln>
              <a:ea typeface="Tahoma" pitchFamily="34" charset="0"/>
              <a:cs typeface="Tahoma" pitchFamily="34" charset="0"/>
            </a:endParaRPr>
          </a:p>
        </p:txBody>
      </p:sp>
      <p:sp>
        <p:nvSpPr>
          <p:cNvPr id="30" name="Овал 29"/>
          <p:cNvSpPr/>
          <p:nvPr>
            <p:custDataLst>
              <p:tags r:id="rId22"/>
            </p:custDataLst>
          </p:nvPr>
        </p:nvSpPr>
        <p:spPr>
          <a:xfrm rot="2751273">
            <a:off x="5469811" y="4002769"/>
            <a:ext cx="217325" cy="217325"/>
          </a:xfrm>
          <a:prstGeom prst="ellipse">
            <a:avLst/>
          </a:prstGeom>
          <a:solidFill>
            <a:schemeClr val="accent6">
              <a:lumMod val="60000"/>
              <a:lumOff val="40000"/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946073" y="2796663"/>
            <a:ext cx="6383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latin typeface="Century Gothic" panose="020B0502020202020204" pitchFamily="34" charset="0"/>
              </a:rPr>
              <a:t>309,4</a:t>
            </a:r>
            <a:endParaRPr lang="ru-RU" sz="1400" b="1" dirty="0">
              <a:latin typeface="Century Gothic" panose="020B050202020202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827584" y="2512485"/>
            <a:ext cx="6383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latin typeface="Century Gothic" panose="020B0502020202020204" pitchFamily="34" charset="0"/>
              </a:rPr>
              <a:t>310,0</a:t>
            </a:r>
            <a:endParaRPr lang="ru-RU" sz="1400" b="1" dirty="0">
              <a:latin typeface="Century Gothic" panose="020B050202020202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186823" y="2491588"/>
            <a:ext cx="6383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latin typeface="Century Gothic" panose="020B0502020202020204" pitchFamily="34" charset="0"/>
              </a:rPr>
              <a:t>340,0</a:t>
            </a:r>
            <a:endParaRPr lang="ru-RU" sz="1400" b="1" dirty="0">
              <a:latin typeface="Century Gothic" panose="020B050202020202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599973" y="2722131"/>
            <a:ext cx="6383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latin typeface="Century Gothic" panose="020B0502020202020204" pitchFamily="34" charset="0"/>
              </a:rPr>
              <a:t>311,3</a:t>
            </a:r>
            <a:endParaRPr lang="ru-RU" sz="1400" b="1" dirty="0">
              <a:latin typeface="Century Gothic" panose="020B0502020202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281153" y="2796663"/>
            <a:ext cx="6383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latin typeface="Century Gothic" panose="020B0502020202020204" pitchFamily="34" charset="0"/>
              </a:rPr>
              <a:t>310,6</a:t>
            </a:r>
            <a:endParaRPr lang="ru-RU" sz="1400" b="1" dirty="0">
              <a:latin typeface="Century Gothic" panose="020B050202020202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7616233" y="2860630"/>
            <a:ext cx="6383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latin typeface="Century Gothic" panose="020B0502020202020204" pitchFamily="34" charset="0"/>
              </a:rPr>
              <a:t>293,0</a:t>
            </a:r>
            <a:endParaRPr lang="ru-RU" sz="1400" b="1" dirty="0">
              <a:latin typeface="Century Gothic" panose="020B0502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Объект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195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Номер слайда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F01F4732-32EE-4C7F-AC1F-76C1CDFF52B7}" type="slidenum">
              <a:rPr lang="ru-RU">
                <a:ln>
                  <a:solidFill>
                    <a:schemeClr val="accent6">
                      <a:lumMod val="75000"/>
                    </a:schemeClr>
                  </a:solidFill>
                </a:ln>
                <a:latin typeface="+mn-lt"/>
              </a:rPr>
              <a:pPr>
                <a:defRPr/>
              </a:pPr>
              <a:t>12</a:t>
            </a:fld>
            <a:endParaRPr lang="ru-RU" dirty="0">
              <a:ln>
                <a:solidFill>
                  <a:schemeClr val="accent6">
                    <a:lumMod val="75000"/>
                  </a:schemeClr>
                </a:solidFill>
              </a:ln>
              <a:latin typeface="+mn-lt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0" y="188640"/>
            <a:ext cx="9144000" cy="8802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3200" dirty="0" smtClean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Общий объем софинансирования </a:t>
            </a:r>
          </a:p>
          <a:p>
            <a:pPr algn="ctr" eaLnBrk="0" hangingPunct="0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3200" dirty="0" smtClean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расходов в 2021 году</a:t>
            </a:r>
          </a:p>
        </p:txBody>
      </p:sp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1192104191"/>
              </p:ext>
            </p:extLst>
          </p:nvPr>
        </p:nvGraphicFramePr>
        <p:xfrm>
          <a:off x="107504" y="1340769"/>
          <a:ext cx="8928992" cy="51125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5" r:lo="rId16" r:qs="rId17" r:cs="rId18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452220" y="3614625"/>
            <a:ext cx="8538446" cy="892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 flipV="1">
            <a:off x="452220" y="4199495"/>
            <a:ext cx="8501270" cy="4854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>
            <a:off x="452220" y="3046817"/>
            <a:ext cx="8538446" cy="892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>
            <a:off x="404580" y="2467501"/>
            <a:ext cx="8538446" cy="892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>
            <a:off x="433957" y="1862046"/>
            <a:ext cx="8538446" cy="892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4499992" y="1376665"/>
            <a:ext cx="1607" cy="286615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319736" y="1442835"/>
            <a:ext cx="435406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Проекты развития территорий, основанных на местных </a:t>
            </a:r>
            <a:endParaRPr lang="ru-RU" sz="1100" b="1" dirty="0" smtClean="0">
              <a:solidFill>
                <a:schemeClr val="tx2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r>
              <a:rPr lang="ru-RU" sz="1100" b="1" dirty="0" smtClean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инициативах в образовательных учреждениях </a:t>
            </a:r>
            <a:endParaRPr lang="ru-RU" sz="1100" b="1" dirty="0">
              <a:solidFill>
                <a:schemeClr val="tx2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349218" y="1950415"/>
            <a:ext cx="402114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>
                <a:solidFill>
                  <a:schemeClr val="accent4"/>
                </a:solidFill>
                <a:latin typeface="Century Gothic" panose="020B0502020202020204" pitchFamily="34" charset="0"/>
              </a:rPr>
              <a:t>Организация </a:t>
            </a:r>
            <a:r>
              <a:rPr lang="ru-RU" sz="1100" b="1" dirty="0">
                <a:solidFill>
                  <a:schemeClr val="accent4"/>
                </a:solidFill>
                <a:latin typeface="Century Gothic" panose="020B0502020202020204" pitchFamily="34" charset="0"/>
              </a:rPr>
              <a:t>бесплатного горячего питания обучающихся </a:t>
            </a:r>
            <a:r>
              <a:rPr lang="ru-RU" sz="1100" b="1" dirty="0" smtClean="0">
                <a:solidFill>
                  <a:schemeClr val="accent4"/>
                </a:solidFill>
                <a:latin typeface="Century Gothic" panose="020B0502020202020204" pitchFamily="34" charset="0"/>
              </a:rPr>
              <a:t>1–4 </a:t>
            </a:r>
            <a:r>
              <a:rPr lang="ru-RU" sz="1100" b="1" dirty="0">
                <a:solidFill>
                  <a:schemeClr val="accent4"/>
                </a:solidFill>
                <a:latin typeface="Century Gothic" panose="020B0502020202020204" pitchFamily="34" charset="0"/>
              </a:rPr>
              <a:t>классов </a:t>
            </a:r>
            <a:r>
              <a:rPr lang="ru-RU" sz="1100" b="1" dirty="0" smtClean="0">
                <a:solidFill>
                  <a:schemeClr val="accent4"/>
                </a:solidFill>
                <a:latin typeface="Century Gothic" panose="020B0502020202020204" pitchFamily="34" charset="0"/>
              </a:rPr>
              <a:t> </a:t>
            </a:r>
            <a:endParaRPr lang="ru-RU" sz="1100" b="1" dirty="0">
              <a:solidFill>
                <a:schemeClr val="accent4"/>
              </a:solidFill>
              <a:latin typeface="Century Gothic" panose="020B0502020202020204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363468" y="2526773"/>
            <a:ext cx="409069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b="1" dirty="0" smtClean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Проведение </a:t>
            </a:r>
            <a:r>
              <a:rPr lang="ru-RU" sz="100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работ </a:t>
            </a:r>
            <a:r>
              <a:rPr lang="ru-RU" sz="1000" b="1" dirty="0" smtClean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по замене оконных блоков </a:t>
            </a:r>
            <a:r>
              <a:rPr lang="ru-RU" sz="100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в </a:t>
            </a:r>
            <a:endParaRPr lang="ru-RU" sz="1000" b="1" dirty="0" smtClean="0">
              <a:solidFill>
                <a:schemeClr val="tx2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algn="just"/>
            <a:r>
              <a:rPr lang="ru-RU" sz="1000" b="1" dirty="0" smtClean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муниципальных </a:t>
            </a:r>
            <a:r>
              <a:rPr lang="ru-RU" sz="100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образовательных </a:t>
            </a:r>
            <a:endParaRPr lang="ru-RU" sz="1000" b="1" dirty="0" smtClean="0">
              <a:solidFill>
                <a:schemeClr val="tx2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algn="just"/>
            <a:r>
              <a:rPr lang="ru-RU" sz="1000" b="1" dirty="0" smtClean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организациях </a:t>
            </a:r>
            <a:endParaRPr lang="ru-RU" sz="1000" b="1" dirty="0">
              <a:solidFill>
                <a:schemeClr val="tx2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5652120" y="223538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sp>
        <p:nvSpPr>
          <p:cNvPr id="53" name="TextBox 52"/>
          <p:cNvSpPr txBox="1"/>
          <p:nvPr/>
        </p:nvSpPr>
        <p:spPr>
          <a:xfrm>
            <a:off x="4560166" y="1974823"/>
            <a:ext cx="19287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 smtClean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Комплектование </a:t>
            </a:r>
            <a:r>
              <a:rPr lang="ru-RU" sz="100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книжных </a:t>
            </a:r>
            <a:endParaRPr lang="ru-RU" sz="1000" b="1" dirty="0" smtClean="0">
              <a:solidFill>
                <a:schemeClr val="tx2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r>
              <a:rPr lang="ru-RU" sz="1000" b="1" dirty="0" smtClean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фондов библиотек</a:t>
            </a:r>
            <a:endParaRPr lang="ru-RU" sz="1000" b="1" dirty="0">
              <a:solidFill>
                <a:schemeClr val="tx2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371075" y="3066063"/>
            <a:ext cx="3552576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 smtClean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Проведение капитального </a:t>
            </a:r>
          </a:p>
          <a:p>
            <a:r>
              <a:rPr lang="ru-RU" sz="1000" b="1" dirty="0" smtClean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ремонта и ремонта </a:t>
            </a:r>
            <a:r>
              <a:rPr lang="ru-RU" sz="100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автомобильных дорог общего </a:t>
            </a:r>
            <a:endParaRPr lang="ru-RU" sz="1000" b="1" dirty="0" smtClean="0">
              <a:solidFill>
                <a:schemeClr val="tx2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r>
              <a:rPr lang="ru-RU" sz="1000" b="1" dirty="0" smtClean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пользования местного </a:t>
            </a:r>
            <a:r>
              <a:rPr lang="ru-RU" sz="100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значения 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4542914" y="2518965"/>
            <a:ext cx="4320413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 smtClean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Предоставление </a:t>
            </a:r>
            <a:r>
              <a:rPr lang="ru-RU" sz="100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молодым </a:t>
            </a:r>
            <a:endParaRPr lang="ru-RU" sz="1000" b="1" dirty="0" smtClean="0">
              <a:solidFill>
                <a:schemeClr val="tx2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r>
              <a:rPr lang="ru-RU" sz="1000" b="1" dirty="0" smtClean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семьям социальных </a:t>
            </a:r>
            <a:r>
              <a:rPr lang="ru-RU" sz="100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выплат на приобретение (строительство</a:t>
            </a:r>
            <a:r>
              <a:rPr lang="ru-RU" sz="1000" b="1" dirty="0" smtClean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)</a:t>
            </a:r>
          </a:p>
          <a:p>
            <a:r>
              <a:rPr lang="ru-RU" sz="1000" b="1" dirty="0" smtClean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жилья </a:t>
            </a:r>
            <a:endParaRPr lang="ru-RU" sz="1000" b="1" dirty="0">
              <a:solidFill>
                <a:schemeClr val="tx2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391953" y="3655814"/>
            <a:ext cx="359771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Формирование</a:t>
            </a:r>
          </a:p>
          <a:p>
            <a:r>
              <a:rPr lang="ru-RU" sz="1000" b="1" dirty="0" smtClean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современной </a:t>
            </a:r>
            <a:r>
              <a:rPr lang="ru-RU" sz="100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городской среды </a:t>
            </a:r>
            <a:r>
              <a:rPr lang="ru-RU" sz="1000" b="1" dirty="0" smtClean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(благоустройство сквера по ул. Маяковского)</a:t>
            </a:r>
            <a:endParaRPr lang="ru-RU" sz="1000" b="1" dirty="0">
              <a:solidFill>
                <a:schemeClr val="tx2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4601780" y="3742399"/>
            <a:ext cx="42499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Проведение реконструкции</a:t>
            </a:r>
          </a:p>
          <a:p>
            <a:r>
              <a:rPr lang="ru-RU" sz="1000" b="1" dirty="0" smtClean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Путепровода </a:t>
            </a:r>
            <a:r>
              <a:rPr lang="ru-RU" sz="100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через железную дорогу по ул. Гагарина 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4554280" y="3096694"/>
            <a:ext cx="4007828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 smtClean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Господдержка малого </a:t>
            </a:r>
            <a:r>
              <a:rPr lang="ru-RU" sz="100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и среднего </a:t>
            </a:r>
            <a:endParaRPr lang="ru-RU" sz="1000" b="1" dirty="0" smtClean="0">
              <a:solidFill>
                <a:schemeClr val="tx2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r>
              <a:rPr lang="ru-RU" sz="1000" b="1" dirty="0" smtClean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предпринимательства</a:t>
            </a:r>
            <a:r>
              <a:rPr lang="ru-RU" sz="100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, осуществляющих деятельность в </a:t>
            </a:r>
            <a:endParaRPr lang="ru-RU" sz="1000" b="1" dirty="0" smtClean="0">
              <a:solidFill>
                <a:schemeClr val="tx2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r>
              <a:rPr lang="ru-RU" sz="1000" b="1" dirty="0" smtClean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монопрофильных </a:t>
            </a:r>
            <a:r>
              <a:rPr lang="ru-RU" sz="100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муниципальных </a:t>
            </a:r>
            <a:r>
              <a:rPr lang="ru-RU" sz="1000" b="1" dirty="0" smtClean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образованиях</a:t>
            </a:r>
            <a:endParaRPr lang="ru-RU" sz="1000" b="1" dirty="0">
              <a:solidFill>
                <a:schemeClr val="tx2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34" name="Прямая соединительная линия 33"/>
          <p:cNvCxnSpPr/>
          <p:nvPr>
            <p:custDataLst>
              <p:tags r:id="rId3"/>
            </p:custDataLst>
          </p:nvPr>
        </p:nvCxnSpPr>
        <p:spPr>
          <a:xfrm>
            <a:off x="4496376" y="1401101"/>
            <a:ext cx="8396" cy="2808711"/>
          </a:xfrm>
          <a:prstGeom prst="line">
            <a:avLst/>
          </a:prstGeom>
          <a:ln w="66675" cap="rnd">
            <a:solidFill>
              <a:schemeClr val="accent4">
                <a:lumMod val="60000"/>
                <a:lumOff val="40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>
            <p:custDataLst>
              <p:tags r:id="rId4"/>
            </p:custDataLst>
          </p:nvPr>
        </p:nvCxnSpPr>
        <p:spPr>
          <a:xfrm>
            <a:off x="452220" y="1853202"/>
            <a:ext cx="8584276" cy="17767"/>
          </a:xfrm>
          <a:prstGeom prst="line">
            <a:avLst/>
          </a:prstGeom>
          <a:ln w="66675" cap="rnd">
            <a:solidFill>
              <a:schemeClr val="accent4">
                <a:lumMod val="60000"/>
                <a:lumOff val="40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единительная линия 60"/>
          <p:cNvCxnSpPr/>
          <p:nvPr>
            <p:custDataLst>
              <p:tags r:id="rId5"/>
            </p:custDataLst>
          </p:nvPr>
        </p:nvCxnSpPr>
        <p:spPr>
          <a:xfrm flipV="1">
            <a:off x="430702" y="2470254"/>
            <a:ext cx="8522788" cy="2631"/>
          </a:xfrm>
          <a:prstGeom prst="line">
            <a:avLst/>
          </a:prstGeom>
          <a:ln w="66675" cap="rnd">
            <a:solidFill>
              <a:schemeClr val="accent4">
                <a:lumMod val="60000"/>
                <a:lumOff val="40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>
            <p:custDataLst>
              <p:tags r:id="rId6"/>
            </p:custDataLst>
          </p:nvPr>
        </p:nvCxnSpPr>
        <p:spPr>
          <a:xfrm>
            <a:off x="452220" y="3062654"/>
            <a:ext cx="8584276" cy="76"/>
          </a:xfrm>
          <a:prstGeom prst="line">
            <a:avLst/>
          </a:prstGeom>
          <a:ln w="66675" cap="rnd">
            <a:solidFill>
              <a:schemeClr val="accent4">
                <a:lumMod val="60000"/>
                <a:lumOff val="40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66"/>
          <p:cNvCxnSpPr/>
          <p:nvPr>
            <p:custDataLst>
              <p:tags r:id="rId7"/>
            </p:custDataLst>
          </p:nvPr>
        </p:nvCxnSpPr>
        <p:spPr>
          <a:xfrm>
            <a:off x="472236" y="3612573"/>
            <a:ext cx="8576380" cy="9436"/>
          </a:xfrm>
          <a:prstGeom prst="line">
            <a:avLst/>
          </a:prstGeom>
          <a:ln w="66675" cap="rnd">
            <a:solidFill>
              <a:schemeClr val="accent4">
                <a:lumMod val="60000"/>
                <a:lumOff val="40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>
            <p:custDataLst>
              <p:tags r:id="rId8"/>
            </p:custDataLst>
          </p:nvPr>
        </p:nvCxnSpPr>
        <p:spPr>
          <a:xfrm flipV="1">
            <a:off x="472236" y="4211789"/>
            <a:ext cx="8564260" cy="44533"/>
          </a:xfrm>
          <a:prstGeom prst="line">
            <a:avLst/>
          </a:prstGeom>
          <a:ln w="66675" cap="rnd">
            <a:solidFill>
              <a:schemeClr val="accent4">
                <a:lumMod val="60000"/>
                <a:lumOff val="40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4528743" y="1417610"/>
            <a:ext cx="4572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100" b="1" dirty="0" smtClean="0">
                <a:solidFill>
                  <a:schemeClr val="accent4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Строительство </a:t>
            </a:r>
            <a:r>
              <a:rPr lang="ru-RU" sz="1100" b="1" dirty="0">
                <a:solidFill>
                  <a:schemeClr val="accent4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детского сада – яслей на 225 мест по. ул. Калинина, 194/1 в 101 микрорайоне в г. </a:t>
            </a:r>
            <a:r>
              <a:rPr lang="ru-RU" sz="1100" b="1" dirty="0" smtClean="0">
                <a:solidFill>
                  <a:schemeClr val="accent4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Невинномысске</a:t>
            </a:r>
            <a:endParaRPr lang="ru-RU" sz="1100" dirty="0">
              <a:solidFill>
                <a:schemeClr val="accent4"/>
              </a:solidFill>
              <a:latin typeface="Century Gothic" panose="020B0502020202020204" pitchFamily="34" charset="0"/>
            </a:endParaRPr>
          </a:p>
        </p:txBody>
      </p:sp>
      <p:sp>
        <p:nvSpPr>
          <p:cNvPr id="72" name="Скругленный прямоугольник 71"/>
          <p:cNvSpPr/>
          <p:nvPr/>
        </p:nvSpPr>
        <p:spPr>
          <a:xfrm>
            <a:off x="3573325" y="5768538"/>
            <a:ext cx="2200955" cy="676790"/>
          </a:xfrm>
          <a:prstGeom prst="roundRect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32,8 </a:t>
            </a:r>
          </a:p>
          <a:p>
            <a:pPr algn="ctr"/>
            <a:r>
              <a:rPr lang="ru-RU" sz="16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млн. рублей</a:t>
            </a:r>
            <a:endParaRPr lang="ru-RU" sz="16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50" name="Рисунок 49"/>
          <p:cNvPicPr>
            <a:picLocks noChangeAspect="1"/>
          </p:cNvPicPr>
          <p:nvPr/>
        </p:nvPicPr>
        <p:blipFill rotWithShape="1">
          <a:blip r:embed="rId20"/>
          <a:srcRect l="24013" t="48600" r="37793" b="40200"/>
          <a:stretch/>
        </p:blipFill>
        <p:spPr>
          <a:xfrm>
            <a:off x="452220" y="4421416"/>
            <a:ext cx="8501270" cy="1152128"/>
          </a:xfrm>
          <a:prstGeom prst="rect">
            <a:avLst/>
          </a:prstGeom>
        </p:spPr>
      </p:pic>
      <p:pic>
        <p:nvPicPr>
          <p:cNvPr id="71" name="Picture 12" descr="https://static.tildacdn.com/tild3761-3931-4332-b130-373233326264/mzlafnqvhfl.png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21" cstate="print">
            <a:clrChange>
              <a:clrFrom>
                <a:srgbClr val="FEFDFA"/>
              </a:clrFrom>
              <a:clrTo>
                <a:srgbClr val="FEFDFA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7047942" y="5121821"/>
            <a:ext cx="1895084" cy="1623549"/>
          </a:xfrm>
          <a:prstGeom prst="rect">
            <a:avLst/>
          </a:prstGeom>
          <a:noFill/>
        </p:spPr>
      </p:pic>
      <p:pic>
        <p:nvPicPr>
          <p:cNvPr id="70" name="Picture 12" descr="https://static.tildacdn.com/tild3761-3931-4332-b130-373233326264/mzlafnqvhfl.png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21" cstate="print">
            <a:clrChange>
              <a:clrFrom>
                <a:srgbClr val="FEFDFA"/>
              </a:clrFrom>
              <a:clrTo>
                <a:srgbClr val="FEFDFA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08374" y="5129378"/>
            <a:ext cx="1882436" cy="16885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84959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auto">
          <a:xfrm rot="5400000">
            <a:off x="4224338" y="-4225926"/>
            <a:ext cx="692150" cy="9144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0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DA3B379-3A3B-4FB6-A55C-82384DA05C8F}" type="slidenum">
              <a:rPr lang="ru-RU" smtClean="0">
                <a:ln>
                  <a:solidFill>
                    <a:schemeClr val="accent6">
                      <a:lumMod val="75000"/>
                    </a:schemeClr>
                  </a:solidFill>
                </a:ln>
                <a:latin typeface="+mn-lt"/>
              </a:rPr>
              <a:pPr>
                <a:defRPr/>
              </a:pPr>
              <a:t>13</a:t>
            </a:fld>
            <a:endParaRPr lang="ru-RU" dirty="0">
              <a:ln>
                <a:solidFill>
                  <a:schemeClr val="accent6">
                    <a:lumMod val="75000"/>
                  </a:schemeClr>
                </a:solidFill>
              </a:ln>
              <a:latin typeface="+mn-lt"/>
            </a:endParaRPr>
          </a:p>
        </p:txBody>
      </p:sp>
      <p:graphicFrame>
        <p:nvGraphicFramePr>
          <p:cNvPr id="41" name="Таблица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156828"/>
              </p:ext>
            </p:extLst>
          </p:nvPr>
        </p:nvGraphicFramePr>
        <p:xfrm>
          <a:off x="141722" y="1412776"/>
          <a:ext cx="8822766" cy="4896544"/>
        </p:xfrm>
        <a:graphic>
          <a:graphicData uri="http://schemas.openxmlformats.org/drawingml/2006/table">
            <a:tbl>
              <a:tblPr/>
              <a:tblGrid>
                <a:gridCol w="1883555"/>
                <a:gridCol w="901933"/>
                <a:gridCol w="1006213"/>
                <a:gridCol w="1006213"/>
                <a:gridCol w="1006213"/>
                <a:gridCol w="1006213"/>
                <a:gridCol w="1006213"/>
                <a:gridCol w="1006213"/>
              </a:tblGrid>
              <a:tr h="128776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5708" marR="5708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4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2018 </a:t>
                      </a:r>
                      <a:r>
                        <a:rPr lang="ru-RU" sz="1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год</a:t>
                      </a:r>
                      <a:br>
                        <a:rPr lang="ru-RU" sz="1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</a:br>
                      <a:r>
                        <a:rPr lang="ru-RU" sz="1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(отчет)</a:t>
                      </a:r>
                    </a:p>
                  </a:txBody>
                  <a:tcPr marL="5708" marR="5708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4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2019 </a:t>
                      </a:r>
                      <a:r>
                        <a:rPr lang="ru-RU" sz="1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год </a:t>
                      </a:r>
                      <a:br>
                        <a:rPr lang="ru-RU" sz="1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</a:br>
                      <a:r>
                        <a:rPr lang="ru-RU" sz="14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(отчет)</a:t>
                      </a:r>
                      <a:endParaRPr lang="ru-RU" sz="1400" b="1" i="0" u="none" strike="noStrik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5708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4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2020</a:t>
                      </a:r>
                      <a:r>
                        <a:rPr lang="en-US" sz="14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ru-RU" sz="14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год </a:t>
                      </a:r>
                      <a:r>
                        <a:rPr lang="ru-RU" sz="1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/>
                      </a:r>
                      <a:br>
                        <a:rPr lang="ru-RU" sz="1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</a:br>
                      <a:r>
                        <a:rPr lang="ru-RU" sz="14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(первона-</a:t>
                      </a:r>
                    </a:p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4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чальный)</a:t>
                      </a:r>
                      <a:endParaRPr lang="ru-RU" sz="1400" b="1" i="0" u="none" strike="noStrik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5708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4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2020 </a:t>
                      </a:r>
                      <a:r>
                        <a:rPr lang="ru-RU" sz="1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год</a:t>
                      </a:r>
                      <a:br>
                        <a:rPr lang="ru-RU" sz="1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</a:br>
                      <a:r>
                        <a:rPr lang="ru-RU" sz="14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(оценка)</a:t>
                      </a:r>
                      <a:endParaRPr lang="ru-RU" sz="1400" b="1" i="0" u="none" strike="noStrik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5708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4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2021 </a:t>
                      </a:r>
                      <a:r>
                        <a:rPr lang="ru-RU" sz="1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год </a:t>
                      </a:r>
                      <a:br>
                        <a:rPr lang="ru-RU" sz="1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</a:br>
                      <a:r>
                        <a:rPr lang="ru-RU" sz="1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(проект)</a:t>
                      </a:r>
                    </a:p>
                  </a:txBody>
                  <a:tcPr marL="5708" marR="5708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14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2022 </a:t>
                      </a:r>
                      <a:r>
                        <a:rPr lang="ru-RU" sz="1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год </a:t>
                      </a:r>
                      <a:br>
                        <a:rPr lang="ru-RU" sz="1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</a:br>
                      <a:r>
                        <a:rPr lang="ru-RU" sz="14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(проект)</a:t>
                      </a:r>
                    </a:p>
                  </a:txBody>
                  <a:tcPr marL="5708" marR="5708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i="0" u="none" strike="noStrike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2023 год </a:t>
                      </a:r>
                      <a:br>
                        <a:rPr lang="ru-RU" sz="14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</a:br>
                      <a:r>
                        <a:rPr lang="ru-RU" sz="14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(проект)</a:t>
                      </a:r>
                    </a:p>
                    <a:p>
                      <a:pPr algn="ctr" fontAlgn="b">
                        <a:lnSpc>
                          <a:spcPct val="100000"/>
                        </a:lnSpc>
                      </a:pPr>
                      <a:endParaRPr lang="ru-RU" sz="1400" b="1" i="0" u="none" strike="noStrik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5708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847743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Доходы, из них:</a:t>
                      </a:r>
                    </a:p>
                  </a:txBody>
                  <a:tcPr marL="144000" marR="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03B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2829,0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E75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4122,3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E75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3905,6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E75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3443,8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E75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3591,1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E75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2572,6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E75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2613,9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E75">
                        <a:alpha val="70000"/>
                      </a:srgbClr>
                    </a:solidFill>
                  </a:tcPr>
                </a:tc>
              </a:tr>
              <a:tr h="704431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налоговые </a:t>
                      </a:r>
                      <a:r>
                        <a:rPr lang="ru-RU" sz="12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и неналоговые</a:t>
                      </a:r>
                    </a:p>
                  </a:txBody>
                  <a:tcPr marL="144000" marR="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882,7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953,2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962,2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987,0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1026,2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1034,8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1053,8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5103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200" b="1" i="0" u="none" strike="noStrike" kern="12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дотации</a:t>
                      </a:r>
                      <a:endParaRPr lang="ru-RU" sz="1200" b="1" i="0" u="none" strike="noStrike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144000" marR="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7,3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58,0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65,4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65,9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35,2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2,3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0,0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35807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Расходы</a:t>
                      </a:r>
                    </a:p>
                  </a:txBody>
                  <a:tcPr marL="144000" marR="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2443,4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4356,5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3972,8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3550,2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3589,1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2573,9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2596,3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</a:tr>
              <a:tr h="869767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Дефицит</a:t>
                      </a:r>
                      <a:r>
                        <a:rPr lang="ru-RU" sz="1200" b="1" i="0" u="none" strike="noStrike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 (-)</a:t>
                      </a:r>
                    </a:p>
                    <a:p>
                      <a:pPr algn="l" fontAlgn="b"/>
                      <a:r>
                        <a:rPr lang="ru-RU" sz="1200" b="1" i="0" u="none" strike="noStrike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Профицит (+)</a:t>
                      </a:r>
                      <a:endParaRPr lang="ru-RU" sz="1200" b="1" i="0" u="none" strike="noStrike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144000" marR="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0B6E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+385,6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8D0EE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-234,2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8D0EE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-67,2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8D0EE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-106,4</a:t>
                      </a:r>
                      <a:endParaRPr lang="ru-RU" sz="1400" b="1" i="0" u="none" strike="noStrike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8D0EE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+2,021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8D0EE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-1,282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8D0EE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+17,603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8D0EE">
                        <a:alpha val="7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>
            <p:custDataLst>
              <p:tags r:id="rId1"/>
            </p:custDataLst>
          </p:nvPr>
        </p:nvSpPr>
        <p:spPr>
          <a:xfrm>
            <a:off x="7344308" y="880254"/>
            <a:ext cx="16866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i="1" dirty="0" smtClean="0">
                <a:ln>
                  <a:solidFill>
                    <a:schemeClr val="tx1"/>
                  </a:solidFill>
                </a:ln>
                <a:ea typeface="Tahoma" pitchFamily="34" charset="0"/>
                <a:cs typeface="Tahoma" pitchFamily="34" charset="0"/>
              </a:rPr>
              <a:t>млн. рублей</a:t>
            </a:r>
            <a:endParaRPr lang="ru-RU" i="1" dirty="0">
              <a:ln>
                <a:solidFill>
                  <a:schemeClr val="tx1"/>
                </a:solidFill>
              </a:ln>
              <a:ea typeface="Tahoma" pitchFamily="34" charset="0"/>
              <a:cs typeface="Tahoma" pitchFamily="34" charset="0"/>
            </a:endParaRPr>
          </a:p>
        </p:txBody>
      </p:sp>
      <p:sp>
        <p:nvSpPr>
          <p:cNvPr id="8" name="Text Box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-24730" y="188640"/>
            <a:ext cx="9168730" cy="683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fontAlgn="auto" hangingPunct="0">
              <a:lnSpc>
                <a:spcPct val="80000"/>
              </a:lnSpc>
              <a:spcAft>
                <a:spcPts val="0"/>
              </a:spcAft>
              <a:defRPr/>
            </a:pPr>
            <a:r>
              <a:rPr lang="ru-RU" altLang="ru-RU" sz="2400" dirty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Основные  характеристики бюджета</a:t>
            </a:r>
          </a:p>
          <a:p>
            <a:pPr algn="ctr" eaLnBrk="0" fontAlgn="auto" hangingPunct="0">
              <a:lnSpc>
                <a:spcPct val="80000"/>
              </a:lnSpc>
              <a:spcAft>
                <a:spcPts val="0"/>
              </a:spcAft>
              <a:defRPr/>
            </a:pPr>
            <a:r>
              <a:rPr lang="ru-RU" altLang="ru-RU" sz="2400" dirty="0" smtClean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города Невинномысска  </a:t>
            </a:r>
            <a:r>
              <a:rPr lang="ru-RU" altLang="ru-RU" sz="2400" dirty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на  </a:t>
            </a:r>
            <a:r>
              <a:rPr lang="ru-RU" altLang="ru-RU" sz="2400" dirty="0" smtClean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2018</a:t>
            </a:r>
            <a:r>
              <a:rPr lang="en-US" altLang="ru-RU" sz="2400" dirty="0" smtClean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altLang="ru-RU" sz="2400" dirty="0" smtClean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-</a:t>
            </a:r>
            <a:r>
              <a:rPr lang="en-US" altLang="ru-RU" sz="2400" dirty="0" smtClean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altLang="ru-RU" sz="2400" dirty="0" smtClean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2023 </a:t>
            </a:r>
            <a:r>
              <a:rPr lang="ru-RU" altLang="ru-RU" sz="2400" dirty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годы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5823144">
            <a:off x="-1456552" y="3134672"/>
            <a:ext cx="4654607" cy="1700678"/>
          </a:xfrm>
          <a:prstGeom prst="rect">
            <a:avLst/>
          </a:prstGeom>
        </p:spPr>
      </p:pic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144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Диаграмма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3616442"/>
              </p:ext>
            </p:extLst>
          </p:nvPr>
        </p:nvGraphicFramePr>
        <p:xfrm>
          <a:off x="-448114" y="1025426"/>
          <a:ext cx="10326588" cy="4865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38" name="Text Box 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782" y="153472"/>
            <a:ext cx="9168730" cy="781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fontAlgn="auto" hangingPunct="0">
              <a:lnSpc>
                <a:spcPct val="80000"/>
              </a:lnSpc>
              <a:spcAft>
                <a:spcPts val="0"/>
              </a:spcAft>
              <a:defRPr/>
            </a:pPr>
            <a:r>
              <a:rPr lang="ru-RU" altLang="ru-RU" sz="2800" dirty="0" smtClean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Доходы бюджета города Невинномысска </a:t>
            </a:r>
          </a:p>
          <a:p>
            <a:pPr algn="ctr" eaLnBrk="0" fontAlgn="auto" hangingPunct="0">
              <a:lnSpc>
                <a:spcPct val="80000"/>
              </a:lnSpc>
              <a:spcAft>
                <a:spcPts val="0"/>
              </a:spcAft>
              <a:defRPr/>
            </a:pPr>
            <a:r>
              <a:rPr lang="ru-RU" altLang="ru-RU" sz="2800" dirty="0" smtClean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в 2018-2023 годах</a:t>
            </a:r>
          </a:p>
        </p:txBody>
      </p:sp>
      <p:sp>
        <p:nvSpPr>
          <p:cNvPr id="13" name="TextBox 12"/>
          <p:cNvSpPr txBox="1"/>
          <p:nvPr>
            <p:custDataLst>
              <p:tags r:id="rId5"/>
            </p:custDataLst>
          </p:nvPr>
        </p:nvSpPr>
        <p:spPr>
          <a:xfrm>
            <a:off x="7344308" y="827420"/>
            <a:ext cx="16866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i="1" dirty="0" smtClean="0">
                <a:ln>
                  <a:solidFill>
                    <a:schemeClr val="tx1"/>
                  </a:solidFill>
                </a:ln>
                <a:ea typeface="Tahoma" pitchFamily="34" charset="0"/>
                <a:cs typeface="Tahoma" pitchFamily="34" charset="0"/>
              </a:rPr>
              <a:t>тыс. рублей</a:t>
            </a:r>
            <a:endParaRPr lang="ru-RU" i="1" dirty="0">
              <a:ln>
                <a:solidFill>
                  <a:schemeClr val="tx1"/>
                </a:solidFill>
              </a:ln>
              <a:ea typeface="Tahoma" pitchFamily="34" charset="0"/>
              <a:cs typeface="Tahoma" pitchFamily="34" charset="0"/>
            </a:endParaRPr>
          </a:p>
        </p:txBody>
      </p:sp>
      <p:sp>
        <p:nvSpPr>
          <p:cNvPr id="14" name="Номер слайда 3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pPr>
              <a:defRPr/>
            </a:pPr>
            <a:fld id="{7DA3B379-3A3B-4FB6-A55C-82384DA05C8F}" type="slidenum">
              <a:rPr lang="ru-RU" smtClean="0">
                <a:ln>
                  <a:solidFill>
                    <a:schemeClr val="accent6">
                      <a:lumMod val="75000"/>
                    </a:schemeClr>
                  </a:solidFill>
                </a:ln>
                <a:latin typeface="+mn-lt"/>
              </a:rPr>
              <a:pPr>
                <a:defRPr/>
              </a:pPr>
              <a:t>2</a:t>
            </a:fld>
            <a:endParaRPr lang="ru-RU" dirty="0">
              <a:ln>
                <a:solidFill>
                  <a:schemeClr val="accent6">
                    <a:lumMod val="75000"/>
                  </a:schemeClr>
                </a:solidFill>
              </a:ln>
              <a:latin typeface="+mn-lt"/>
            </a:endParaRPr>
          </a:p>
        </p:txBody>
      </p:sp>
      <p:sp>
        <p:nvSpPr>
          <p:cNvPr id="44" name="Прямоугольник 43"/>
          <p:cNvSpPr/>
          <p:nvPr>
            <p:custDataLst>
              <p:tags r:id="rId7"/>
            </p:custDataLst>
          </p:nvPr>
        </p:nvSpPr>
        <p:spPr>
          <a:xfrm>
            <a:off x="-89543" y="5582317"/>
            <a:ext cx="1863870" cy="5626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1300"/>
              </a:lnSpc>
            </a:pPr>
            <a:r>
              <a:rPr lang="ru-RU" sz="14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2018 год</a:t>
            </a:r>
          </a:p>
          <a:p>
            <a:pPr algn="ctr">
              <a:lnSpc>
                <a:spcPts val="1300"/>
              </a:lnSpc>
            </a:pPr>
            <a:r>
              <a:rPr lang="ru-RU" sz="14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(отчет)</a:t>
            </a:r>
            <a:endParaRPr lang="ru-RU" sz="14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46" name="Прямоугольник 45"/>
          <p:cNvSpPr/>
          <p:nvPr>
            <p:custDataLst>
              <p:tags r:id="rId8"/>
            </p:custDataLst>
          </p:nvPr>
        </p:nvSpPr>
        <p:spPr>
          <a:xfrm>
            <a:off x="3122574" y="5510603"/>
            <a:ext cx="1648396" cy="725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1300"/>
              </a:lnSpc>
            </a:pPr>
            <a:r>
              <a:rPr lang="ru-RU" sz="14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2020 год (оценка)</a:t>
            </a:r>
            <a:endParaRPr lang="ru-RU" sz="14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47" name="Прямоугольник 46"/>
          <p:cNvSpPr/>
          <p:nvPr>
            <p:custDataLst>
              <p:tags r:id="rId9"/>
            </p:custDataLst>
          </p:nvPr>
        </p:nvSpPr>
        <p:spPr>
          <a:xfrm>
            <a:off x="1341451" y="5654162"/>
            <a:ext cx="1961257" cy="4053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1300"/>
              </a:lnSpc>
            </a:pPr>
            <a:r>
              <a:rPr lang="ru-RU" sz="14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2019 год</a:t>
            </a:r>
          </a:p>
          <a:p>
            <a:pPr algn="ctr">
              <a:lnSpc>
                <a:spcPts val="1300"/>
              </a:lnSpc>
            </a:pPr>
            <a:r>
              <a:rPr lang="ru-RU" sz="14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(отчет)</a:t>
            </a:r>
            <a:endParaRPr lang="ru-RU" sz="14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10"/>
            </p:custDataLst>
          </p:nvPr>
        </p:nvSpPr>
        <p:spPr>
          <a:xfrm>
            <a:off x="778422" y="6375294"/>
            <a:ext cx="2520280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200"/>
              </a:lnSpc>
            </a:pPr>
            <a:r>
              <a:rPr lang="ru-RU" sz="14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Собственные доходы</a:t>
            </a:r>
          </a:p>
        </p:txBody>
      </p:sp>
      <p:sp>
        <p:nvSpPr>
          <p:cNvPr id="27" name="Прямоугольник 26"/>
          <p:cNvSpPr/>
          <p:nvPr>
            <p:custDataLst>
              <p:tags r:id="rId11"/>
            </p:custDataLst>
          </p:nvPr>
        </p:nvSpPr>
        <p:spPr>
          <a:xfrm>
            <a:off x="3534834" y="6427730"/>
            <a:ext cx="3360229" cy="1544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200"/>
              </a:lnSpc>
            </a:pPr>
            <a:r>
              <a:rPr lang="ru-RU" sz="14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Безвозмездные поступления</a:t>
            </a:r>
            <a:endParaRPr lang="ru-RU" sz="14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8" name="Овал 27"/>
          <p:cNvSpPr/>
          <p:nvPr>
            <p:custDataLst>
              <p:tags r:id="rId12"/>
            </p:custDataLst>
          </p:nvPr>
        </p:nvSpPr>
        <p:spPr bwMode="auto">
          <a:xfrm>
            <a:off x="450392" y="6358661"/>
            <a:ext cx="216024" cy="216025"/>
          </a:xfrm>
          <a:prstGeom prst="ellipse">
            <a:avLst/>
          </a:prstGeom>
          <a:solidFill>
            <a:srgbClr val="FFD85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b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9" name="Овал 28"/>
          <p:cNvSpPr/>
          <p:nvPr>
            <p:custDataLst>
              <p:tags r:id="rId13"/>
            </p:custDataLst>
          </p:nvPr>
        </p:nvSpPr>
        <p:spPr bwMode="auto">
          <a:xfrm>
            <a:off x="3194708" y="6358662"/>
            <a:ext cx="216000" cy="216024"/>
          </a:xfrm>
          <a:prstGeom prst="ellipse">
            <a:avLst/>
          </a:prstGeom>
          <a:solidFill>
            <a:srgbClr val="A5C4E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b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2" name="Прямоугольник 31"/>
          <p:cNvSpPr/>
          <p:nvPr>
            <p:custDataLst>
              <p:tags r:id="rId14"/>
            </p:custDataLst>
          </p:nvPr>
        </p:nvSpPr>
        <p:spPr>
          <a:xfrm>
            <a:off x="4647484" y="5509190"/>
            <a:ext cx="1648396" cy="725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1300"/>
              </a:lnSpc>
            </a:pPr>
            <a:r>
              <a:rPr lang="ru-RU" sz="14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2021 год (проект)</a:t>
            </a:r>
            <a:endParaRPr lang="ru-RU" sz="14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33" name="Прямоугольник 32"/>
          <p:cNvSpPr/>
          <p:nvPr>
            <p:custDataLst>
              <p:tags r:id="rId15"/>
            </p:custDataLst>
          </p:nvPr>
        </p:nvSpPr>
        <p:spPr>
          <a:xfrm>
            <a:off x="6228184" y="5521412"/>
            <a:ext cx="1648396" cy="725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1300"/>
              </a:lnSpc>
            </a:pPr>
            <a:r>
              <a:rPr lang="ru-RU" sz="14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2022 год (проект)</a:t>
            </a:r>
            <a:endParaRPr lang="ru-RU" sz="14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1" name="Прямоугольник 20"/>
          <p:cNvSpPr/>
          <p:nvPr>
            <p:custDataLst>
              <p:tags r:id="rId16"/>
            </p:custDataLst>
          </p:nvPr>
        </p:nvSpPr>
        <p:spPr>
          <a:xfrm>
            <a:off x="7830744" y="5527924"/>
            <a:ext cx="1648396" cy="725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1300"/>
              </a:lnSpc>
            </a:pPr>
            <a:r>
              <a:rPr lang="ru-RU" sz="14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2023 год (проект)</a:t>
            </a:r>
            <a:endParaRPr lang="ru-RU" sz="14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5" name="Овал 24"/>
          <p:cNvSpPr/>
          <p:nvPr>
            <p:custDataLst>
              <p:tags r:id="rId17"/>
            </p:custDataLst>
          </p:nvPr>
        </p:nvSpPr>
        <p:spPr bwMode="auto">
          <a:xfrm>
            <a:off x="6787063" y="6371008"/>
            <a:ext cx="216000" cy="216024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b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0" name="Прямоугольник 29"/>
          <p:cNvSpPr/>
          <p:nvPr>
            <p:custDataLst>
              <p:tags r:id="rId18"/>
            </p:custDataLst>
          </p:nvPr>
        </p:nvSpPr>
        <p:spPr>
          <a:xfrm>
            <a:off x="7118400" y="6391375"/>
            <a:ext cx="2244971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200"/>
              </a:lnSpc>
            </a:pPr>
            <a:r>
              <a:rPr lang="ru-RU" sz="14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Всего доходов</a:t>
            </a:r>
            <a:endParaRPr lang="ru-RU" sz="14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 rot="20555884">
            <a:off x="4282254" y="4007651"/>
            <a:ext cx="812868" cy="309375"/>
          </a:xfrm>
          <a:prstGeom prst="roundRect">
            <a:avLst>
              <a:gd name="adj" fmla="val 50000"/>
            </a:avLst>
          </a:prstGeom>
          <a:solidFill>
            <a:srgbClr val="DDAE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lang="ru-RU" sz="1400" b="1" i="0" u="none" strike="noStrike" kern="1200" baseline="0" dirty="0" smtClean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+39,2</a:t>
            </a:r>
            <a:endParaRPr lang="ru-RU" dirty="0"/>
          </a:p>
        </p:txBody>
      </p:sp>
      <p:sp>
        <p:nvSpPr>
          <p:cNvPr id="24" name="Скругленный прямоугольник 23"/>
          <p:cNvSpPr/>
          <p:nvPr/>
        </p:nvSpPr>
        <p:spPr>
          <a:xfrm rot="20622777">
            <a:off x="2723400" y="3612386"/>
            <a:ext cx="830808" cy="316777"/>
          </a:xfrm>
          <a:prstGeom prst="roundRect">
            <a:avLst>
              <a:gd name="adj" fmla="val 50000"/>
            </a:avLst>
          </a:prstGeom>
          <a:solidFill>
            <a:srgbClr val="DDAE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lang="ru-RU" sz="1400" b="1" i="0" u="none" strike="noStrike" kern="1200" baseline="0" dirty="0" smtClean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+33,8</a:t>
            </a:r>
            <a:endParaRPr lang="ru-RU" dirty="0"/>
          </a:p>
        </p:txBody>
      </p:sp>
      <p:sp>
        <p:nvSpPr>
          <p:cNvPr id="31" name="Скругленный прямоугольник 30"/>
          <p:cNvSpPr/>
          <p:nvPr/>
        </p:nvSpPr>
        <p:spPr>
          <a:xfrm rot="20555884">
            <a:off x="5893839" y="4208668"/>
            <a:ext cx="796418" cy="316713"/>
          </a:xfrm>
          <a:prstGeom prst="roundRect">
            <a:avLst>
              <a:gd name="adj" fmla="val 50000"/>
            </a:avLst>
          </a:prstGeom>
          <a:solidFill>
            <a:srgbClr val="DDAE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lang="ru-RU" sz="1400" b="1" i="0" u="none" strike="noStrike" kern="1200" baseline="0" dirty="0" smtClean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+8,6</a:t>
            </a:r>
            <a:endParaRPr lang="ru-RU" dirty="0"/>
          </a:p>
        </p:txBody>
      </p:sp>
      <p:sp>
        <p:nvSpPr>
          <p:cNvPr id="34" name="Скругленный прямоугольник 33"/>
          <p:cNvSpPr/>
          <p:nvPr/>
        </p:nvSpPr>
        <p:spPr>
          <a:xfrm rot="20555884">
            <a:off x="7440988" y="4581182"/>
            <a:ext cx="790902" cy="328684"/>
          </a:xfrm>
          <a:prstGeom prst="roundRect">
            <a:avLst>
              <a:gd name="adj" fmla="val 50000"/>
            </a:avLst>
          </a:prstGeom>
          <a:solidFill>
            <a:srgbClr val="DDAE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lang="ru-RU" sz="1400" b="1" i="0" u="none" strike="noStrike" kern="1200" baseline="0" dirty="0" smtClean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+19,0</a:t>
            </a:r>
            <a:endParaRPr lang="ru-RU" dirty="0"/>
          </a:p>
        </p:txBody>
      </p:sp>
      <p:cxnSp>
        <p:nvCxnSpPr>
          <p:cNvPr id="35" name="Прямая со стрелкой 34"/>
          <p:cNvCxnSpPr/>
          <p:nvPr/>
        </p:nvCxnSpPr>
        <p:spPr>
          <a:xfrm flipV="1">
            <a:off x="3194611" y="4111306"/>
            <a:ext cx="97" cy="980718"/>
          </a:xfrm>
          <a:prstGeom prst="straightConnector1">
            <a:avLst/>
          </a:prstGeom>
          <a:ln w="38100" cap="rnd">
            <a:solidFill>
              <a:srgbClr val="FFC00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/>
          <p:nvPr/>
        </p:nvCxnSpPr>
        <p:spPr>
          <a:xfrm flipV="1">
            <a:off x="4715083" y="4375795"/>
            <a:ext cx="97" cy="980718"/>
          </a:xfrm>
          <a:prstGeom prst="straightConnector1">
            <a:avLst/>
          </a:prstGeom>
          <a:ln w="38100" cap="rnd">
            <a:solidFill>
              <a:srgbClr val="FFC00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/>
          <p:nvPr/>
        </p:nvCxnSpPr>
        <p:spPr>
          <a:xfrm flipH="1" flipV="1">
            <a:off x="6323110" y="4627449"/>
            <a:ext cx="11547" cy="895848"/>
          </a:xfrm>
          <a:prstGeom prst="straightConnector1">
            <a:avLst/>
          </a:prstGeom>
          <a:ln w="38100" cap="rnd">
            <a:solidFill>
              <a:srgbClr val="FFC00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 стрелкой 39"/>
          <p:cNvCxnSpPr/>
          <p:nvPr/>
        </p:nvCxnSpPr>
        <p:spPr>
          <a:xfrm flipV="1">
            <a:off x="7898440" y="4961811"/>
            <a:ext cx="0" cy="620506"/>
          </a:xfrm>
          <a:prstGeom prst="straightConnector1">
            <a:avLst/>
          </a:prstGeom>
          <a:ln w="38100" cap="rnd">
            <a:solidFill>
              <a:srgbClr val="FFC00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3462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0" y="225456"/>
            <a:ext cx="9144000" cy="78175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914182" eaLnBrk="0" fontAlgn="auto" hangingPunct="0">
              <a:lnSpc>
                <a:spcPct val="80000"/>
              </a:lnSpc>
              <a:spcAft>
                <a:spcPts val="0"/>
              </a:spcAft>
              <a:defRPr/>
            </a:pPr>
            <a:r>
              <a:rPr lang="ru-RU" altLang="ru-RU" sz="2800" dirty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Структура налоговых и неналоговых доходов </a:t>
            </a:r>
          </a:p>
          <a:p>
            <a:pPr algn="ctr" defTabSz="914182" eaLnBrk="0" fontAlgn="auto" hangingPunct="0">
              <a:lnSpc>
                <a:spcPct val="80000"/>
              </a:lnSpc>
              <a:spcAft>
                <a:spcPts val="0"/>
              </a:spcAft>
              <a:defRPr/>
            </a:pPr>
            <a:r>
              <a:rPr lang="ru-RU" altLang="ru-RU" sz="2800" dirty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на </a:t>
            </a:r>
            <a:r>
              <a:rPr lang="ru-RU" altLang="ru-RU" sz="2800" dirty="0" smtClean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2019-2023 </a:t>
            </a:r>
            <a:r>
              <a:rPr lang="ru-RU" altLang="ru-RU" sz="2800" dirty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годы</a:t>
            </a:r>
          </a:p>
        </p:txBody>
      </p:sp>
      <p:sp>
        <p:nvSpPr>
          <p:cNvPr id="22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AEF75E-59B5-46F9-AED9-8B3BB81C06F4}" type="slidenum">
              <a:rPr lang="ru-RU">
                <a:ln>
                  <a:solidFill>
                    <a:schemeClr val="accent6">
                      <a:lumMod val="75000"/>
                    </a:schemeClr>
                  </a:solidFill>
                </a:ln>
                <a:latin typeface="+mn-lt"/>
              </a:rPr>
              <a:pPr>
                <a:defRPr/>
              </a:pPr>
              <a:t>3</a:t>
            </a:fld>
            <a:endParaRPr lang="ru-RU" dirty="0">
              <a:ln>
                <a:solidFill>
                  <a:schemeClr val="accent6">
                    <a:lumMod val="75000"/>
                  </a:schemeClr>
                </a:solidFill>
              </a:ln>
              <a:latin typeface="+mn-lt"/>
            </a:endParaRPr>
          </a:p>
        </p:txBody>
      </p:sp>
      <p:sp>
        <p:nvSpPr>
          <p:cNvPr id="15" name="TextBox 14"/>
          <p:cNvSpPr txBox="1"/>
          <p:nvPr>
            <p:custDataLst>
              <p:tags r:id="rId1"/>
            </p:custDataLst>
          </p:nvPr>
        </p:nvSpPr>
        <p:spPr>
          <a:xfrm>
            <a:off x="7344308" y="827420"/>
            <a:ext cx="1686688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defTabSz="91418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i="1" dirty="0">
                <a:ln>
                  <a:solidFill>
                    <a:schemeClr val="tx1"/>
                  </a:solidFill>
                </a:ln>
                <a:latin typeface="+mn-lt"/>
                <a:ea typeface="Tahoma" pitchFamily="34" charset="0"/>
                <a:cs typeface="Tahoma" pitchFamily="34" charset="0"/>
              </a:rPr>
              <a:t>млн. рублей</a:t>
            </a: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2466575"/>
              </p:ext>
            </p:extLst>
          </p:nvPr>
        </p:nvGraphicFramePr>
        <p:xfrm>
          <a:off x="179512" y="1268761"/>
          <a:ext cx="8713044" cy="5498197"/>
        </p:xfrm>
        <a:graphic>
          <a:graphicData uri="http://schemas.openxmlformats.org/drawingml/2006/table">
            <a:tbl>
              <a:tblPr/>
              <a:tblGrid>
                <a:gridCol w="2533044"/>
                <a:gridCol w="1079128"/>
                <a:gridCol w="854045"/>
                <a:gridCol w="854045"/>
                <a:gridCol w="842346"/>
                <a:gridCol w="842346"/>
                <a:gridCol w="854045"/>
                <a:gridCol w="854045"/>
              </a:tblGrid>
              <a:tr h="640999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Источники доходов </a:t>
                      </a:r>
                    </a:p>
                  </a:txBody>
                  <a:tcPr marL="6875" marR="6875" marT="687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19 год</a:t>
                      </a:r>
                    </a:p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(отчет )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875" marR="6875" marT="687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20 год</a:t>
                      </a:r>
                    </a:p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(оценка)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875" marR="6875" marT="68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endParaRPr lang="ru-RU" sz="1200" b="1" kern="1200" dirty="0" smtClean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21 год</a:t>
                      </a:r>
                    </a:p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(прогноз)</a:t>
                      </a:r>
                    </a:p>
                    <a:p>
                      <a:pPr algn="ctr" rtl="0" fontAlgn="ctr"/>
                      <a:endParaRPr lang="ru-RU" sz="1200" b="1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875" marR="6875" marT="68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Отклонение к </a:t>
                      </a:r>
                      <a:endParaRPr lang="ru-RU" sz="1200" b="1" kern="1200" dirty="0" smtClean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оценке</a:t>
                      </a:r>
                    </a:p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2020 года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875" marR="6875" marT="68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22 </a:t>
                      </a:r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год (прогноз)</a:t>
                      </a:r>
                    </a:p>
                  </a:txBody>
                  <a:tcPr marL="6875" marR="6875" marT="68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23 </a:t>
                      </a:r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год (прогноз</a:t>
                      </a: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)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875" marR="6875" marT="68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6693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абс.  сумма</a:t>
                      </a:r>
                    </a:p>
                  </a:txBody>
                  <a:tcPr marL="6875" marR="6875" marT="68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% </a:t>
                      </a:r>
                    </a:p>
                  </a:txBody>
                  <a:tcPr marL="6875" marR="6875" marT="68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6693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Налог на доходы физических лиц  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72000" marR="6875" marT="687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479,8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510,9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527,8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16,9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rgbClr val="FF0000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103,3</a:t>
                      </a:r>
                      <a:endParaRPr lang="ru-RU" sz="1200" b="1" kern="1200" dirty="0">
                        <a:solidFill>
                          <a:srgbClr val="FF0000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546,2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563,3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790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Акцизы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72000" marR="6875" marT="687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11,9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12,4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12,7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0,3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rgbClr val="FF0000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102,4</a:t>
                      </a:r>
                      <a:endParaRPr lang="ru-RU" sz="1200" b="1" kern="1200" dirty="0">
                        <a:solidFill>
                          <a:srgbClr val="FF0000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13,3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13,3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56534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Единый налог на вмененный доход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 для отдельных видов деятельности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72000" marR="6875" marT="687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59,7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46,0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10,8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-35,2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23,5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0,0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0,0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693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Единый сельскохозяйственный налог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72000" marR="6875" marT="687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0,04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0,5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0,4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-0,1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80,0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0,5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0,5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547021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Налог, взимаемый в связи с применением упрощенной системой налогообложения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72000" marR="6875" marT="687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0,0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0,0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32,8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0,0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0,0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33,8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35,1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8613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Налог, взимаемый в связи с применением патентной системы налогообложения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72000" marR="6875" marT="687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4,9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4,7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6,0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1,3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rgbClr val="FF0000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127,6</a:t>
                      </a:r>
                      <a:endParaRPr lang="ru-RU" sz="1200" b="1" kern="1200" dirty="0">
                        <a:solidFill>
                          <a:srgbClr val="FF0000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6,2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6,5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4282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Налог на имущество физических лиц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72000" marR="6875" marT="687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40,5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40,8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49,0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8,2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rgbClr val="FF0000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120,1</a:t>
                      </a:r>
                      <a:endParaRPr lang="ru-RU" sz="1200" b="1" kern="1200" dirty="0">
                        <a:solidFill>
                          <a:srgbClr val="FF0000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49,0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49,0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435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Земельный налог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72000" marR="6875" marT="687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162,1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189,2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199,4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10,2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rgbClr val="FF0000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105,4</a:t>
                      </a:r>
                      <a:endParaRPr lang="ru-RU" sz="1200" b="1" kern="1200" dirty="0">
                        <a:solidFill>
                          <a:srgbClr val="FF0000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199,4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199,4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3438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Государственная пошлина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72000" marR="6875" marT="687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13,4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13,8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14,3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0,5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kern="1200" dirty="0" smtClean="0">
                          <a:solidFill>
                            <a:srgbClr val="FF0000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103,</a:t>
                      </a:r>
                      <a:r>
                        <a:rPr lang="ru-RU" sz="1200" b="1" kern="1200" dirty="0" smtClean="0">
                          <a:solidFill>
                            <a:srgbClr val="FF0000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6</a:t>
                      </a:r>
                      <a:endParaRPr lang="ru-RU" sz="1200" b="1" kern="1200" dirty="0">
                        <a:solidFill>
                          <a:srgbClr val="FF0000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14,8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15,4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438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kern="1200" dirty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Неналоговые доходы</a:t>
                      </a:r>
                    </a:p>
                  </a:txBody>
                  <a:tcPr marL="72000" marR="6875" marT="687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180,9</a:t>
                      </a:r>
                      <a:endParaRPr lang="ru-RU" sz="14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168,7</a:t>
                      </a:r>
                      <a:endParaRPr lang="ru-RU" sz="14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173,0</a:t>
                      </a:r>
                      <a:endParaRPr lang="ru-RU" sz="14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4,3</a:t>
                      </a:r>
                      <a:endParaRPr lang="ru-RU" sz="14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 smtClean="0">
                          <a:solidFill>
                            <a:srgbClr val="FF0000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102,5</a:t>
                      </a:r>
                      <a:endParaRPr lang="ru-RU" sz="1400" b="1" kern="1200" dirty="0">
                        <a:solidFill>
                          <a:srgbClr val="FF0000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171,6</a:t>
                      </a:r>
                      <a:endParaRPr lang="ru-RU" sz="14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171,3</a:t>
                      </a:r>
                      <a:endParaRPr lang="ru-RU" sz="14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8448">
                <a:tc>
                  <a:txBody>
                    <a:bodyPr/>
                    <a:lstStyle/>
                    <a:p>
                      <a:pPr algn="r" rtl="0" fontAlgn="ctr">
                        <a:tabLst>
                          <a:tab pos="93663" algn="l"/>
                          <a:tab pos="1439863" algn="l"/>
                        </a:tabLst>
                      </a:pP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ИТОГО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875" marR="6875" marT="687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953,2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987,0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26,2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39,2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4,0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34,8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53,8</a:t>
                      </a:r>
                      <a:endParaRPr lang="ru-RU" sz="1600" b="1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6875" marR="108000" marT="687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3196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Диаграмма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80501883"/>
              </p:ext>
            </p:extLst>
          </p:nvPr>
        </p:nvGraphicFramePr>
        <p:xfrm>
          <a:off x="-324544" y="1150539"/>
          <a:ext cx="9793088" cy="4584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38" name="Text Box 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782" y="153472"/>
            <a:ext cx="9168730" cy="733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ts val="2500"/>
              </a:lnSpc>
              <a:spcBef>
                <a:spcPct val="0"/>
              </a:spcBef>
              <a:defRPr/>
            </a:pPr>
            <a:r>
              <a:rPr lang="ru-RU" altLang="ru-RU" sz="2800" dirty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Расходы бюджета города Невинномысска</a:t>
            </a:r>
            <a:endParaRPr lang="en-US" altLang="ru-RU" sz="2800" dirty="0">
              <a:ln w="3175" cmpd="sng">
                <a:solidFill>
                  <a:schemeClr val="tx1"/>
                </a:solidFill>
                <a:prstDash val="solid"/>
              </a:ln>
              <a:latin typeface="Century Gothic" panose="020B0502020202020204" pitchFamily="34" charset="0"/>
              <a:cs typeface="Times New Roman" pitchFamily="18" charset="0"/>
            </a:endParaRPr>
          </a:p>
          <a:p>
            <a:pPr algn="ctr">
              <a:lnSpc>
                <a:spcPts val="2500"/>
              </a:lnSpc>
              <a:spcBef>
                <a:spcPct val="0"/>
              </a:spcBef>
              <a:defRPr/>
            </a:pPr>
            <a:r>
              <a:rPr lang="ru-RU" altLang="ru-RU" sz="2800" dirty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в </a:t>
            </a:r>
            <a:r>
              <a:rPr lang="ru-RU" altLang="ru-RU" sz="2800" dirty="0" smtClean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2018-2023 </a:t>
            </a:r>
            <a:r>
              <a:rPr lang="ru-RU" altLang="ru-RU" sz="2800" dirty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годах </a:t>
            </a:r>
          </a:p>
        </p:txBody>
      </p:sp>
      <p:sp>
        <p:nvSpPr>
          <p:cNvPr id="13" name="TextBox 12"/>
          <p:cNvSpPr txBox="1"/>
          <p:nvPr>
            <p:custDataLst>
              <p:tags r:id="rId5"/>
            </p:custDataLst>
          </p:nvPr>
        </p:nvSpPr>
        <p:spPr>
          <a:xfrm>
            <a:off x="7344308" y="827420"/>
            <a:ext cx="16866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i="1" dirty="0" smtClean="0">
                <a:ln>
                  <a:solidFill>
                    <a:schemeClr val="tx1"/>
                  </a:solidFill>
                </a:ln>
                <a:ea typeface="Tahoma" pitchFamily="34" charset="0"/>
                <a:cs typeface="Tahoma" pitchFamily="34" charset="0"/>
              </a:rPr>
              <a:t>тыс. рублей</a:t>
            </a:r>
            <a:endParaRPr lang="ru-RU" i="1" dirty="0">
              <a:ln>
                <a:solidFill>
                  <a:schemeClr val="tx1"/>
                </a:solidFill>
              </a:ln>
              <a:ea typeface="Tahoma" pitchFamily="34" charset="0"/>
              <a:cs typeface="Tahoma" pitchFamily="34" charset="0"/>
            </a:endParaRPr>
          </a:p>
        </p:txBody>
      </p:sp>
      <p:sp>
        <p:nvSpPr>
          <p:cNvPr id="14" name="Номер слайда 3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pPr>
              <a:defRPr/>
            </a:pPr>
            <a:fld id="{7DA3B379-3A3B-4FB6-A55C-82384DA05C8F}" type="slidenum">
              <a:rPr lang="ru-RU" smtClean="0">
                <a:ln>
                  <a:solidFill>
                    <a:schemeClr val="accent6">
                      <a:lumMod val="75000"/>
                    </a:schemeClr>
                  </a:solidFill>
                </a:ln>
                <a:latin typeface="+mn-lt"/>
              </a:rPr>
              <a:pPr>
                <a:defRPr/>
              </a:pPr>
              <a:t>4</a:t>
            </a:fld>
            <a:endParaRPr lang="ru-RU" dirty="0">
              <a:ln>
                <a:solidFill>
                  <a:schemeClr val="accent6">
                    <a:lumMod val="75000"/>
                  </a:schemeClr>
                </a:solidFill>
              </a:ln>
              <a:latin typeface="+mn-lt"/>
            </a:endParaRPr>
          </a:p>
        </p:txBody>
      </p:sp>
      <p:sp>
        <p:nvSpPr>
          <p:cNvPr id="44" name="Прямоугольник 43"/>
          <p:cNvSpPr/>
          <p:nvPr>
            <p:custDataLst>
              <p:tags r:id="rId7"/>
            </p:custDataLst>
          </p:nvPr>
        </p:nvSpPr>
        <p:spPr>
          <a:xfrm>
            <a:off x="-40700" y="5575468"/>
            <a:ext cx="1863870" cy="5626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1300"/>
              </a:lnSpc>
            </a:pPr>
            <a:r>
              <a:rPr lang="ru-RU" sz="14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2018 год</a:t>
            </a:r>
          </a:p>
          <a:p>
            <a:pPr algn="ctr">
              <a:lnSpc>
                <a:spcPts val="1300"/>
              </a:lnSpc>
            </a:pPr>
            <a:r>
              <a:rPr lang="ru-RU" sz="14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(отчет)</a:t>
            </a:r>
            <a:endParaRPr lang="ru-RU" sz="14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46" name="Прямоугольник 45"/>
          <p:cNvSpPr/>
          <p:nvPr>
            <p:custDataLst>
              <p:tags r:id="rId8"/>
            </p:custDataLst>
          </p:nvPr>
        </p:nvSpPr>
        <p:spPr>
          <a:xfrm>
            <a:off x="3066784" y="5494166"/>
            <a:ext cx="1648396" cy="725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1300"/>
              </a:lnSpc>
            </a:pPr>
            <a:r>
              <a:rPr lang="ru-RU" sz="14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2020 год (оценка)</a:t>
            </a:r>
            <a:endParaRPr lang="ru-RU" sz="14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47" name="Прямоугольник 46"/>
          <p:cNvSpPr/>
          <p:nvPr>
            <p:custDataLst>
              <p:tags r:id="rId9"/>
            </p:custDataLst>
          </p:nvPr>
        </p:nvSpPr>
        <p:spPr>
          <a:xfrm>
            <a:off x="1083667" y="5485266"/>
            <a:ext cx="2518828" cy="7538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1300"/>
              </a:lnSpc>
            </a:pPr>
            <a:r>
              <a:rPr lang="ru-RU" sz="14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2019 год</a:t>
            </a:r>
          </a:p>
          <a:p>
            <a:pPr algn="ctr">
              <a:lnSpc>
                <a:spcPts val="1300"/>
              </a:lnSpc>
            </a:pPr>
            <a:r>
              <a:rPr lang="ru-RU" sz="14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(отчет)</a:t>
            </a:r>
            <a:endParaRPr lang="ru-RU" sz="14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10"/>
            </p:custDataLst>
          </p:nvPr>
        </p:nvSpPr>
        <p:spPr>
          <a:xfrm>
            <a:off x="2032231" y="6384863"/>
            <a:ext cx="2520280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200"/>
              </a:lnSpc>
            </a:pPr>
            <a:r>
              <a:rPr lang="ru-RU" sz="14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Всего расходов</a:t>
            </a:r>
          </a:p>
        </p:txBody>
      </p:sp>
      <p:sp>
        <p:nvSpPr>
          <p:cNvPr id="27" name="Прямоугольник 26"/>
          <p:cNvSpPr/>
          <p:nvPr>
            <p:custDataLst>
              <p:tags r:id="rId11"/>
            </p:custDataLst>
          </p:nvPr>
        </p:nvSpPr>
        <p:spPr>
          <a:xfrm>
            <a:off x="5340871" y="6384863"/>
            <a:ext cx="3407593" cy="175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200"/>
              </a:lnSpc>
            </a:pPr>
            <a:r>
              <a:rPr lang="ru-RU" sz="14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Расходы за счет средств бюджета города</a:t>
            </a:r>
            <a:endParaRPr lang="ru-RU" sz="14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8" name="Овал 27"/>
          <p:cNvSpPr/>
          <p:nvPr>
            <p:custDataLst>
              <p:tags r:id="rId12"/>
            </p:custDataLst>
          </p:nvPr>
        </p:nvSpPr>
        <p:spPr bwMode="auto">
          <a:xfrm>
            <a:off x="1751464" y="6358661"/>
            <a:ext cx="216024" cy="216025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b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9" name="Овал 28"/>
          <p:cNvSpPr/>
          <p:nvPr>
            <p:custDataLst>
              <p:tags r:id="rId13"/>
            </p:custDataLst>
          </p:nvPr>
        </p:nvSpPr>
        <p:spPr bwMode="auto">
          <a:xfrm>
            <a:off x="5092799" y="6358662"/>
            <a:ext cx="216000" cy="216024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b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2" name="Прямоугольник 31"/>
          <p:cNvSpPr/>
          <p:nvPr>
            <p:custDataLst>
              <p:tags r:id="rId14"/>
            </p:custDataLst>
          </p:nvPr>
        </p:nvSpPr>
        <p:spPr>
          <a:xfrm>
            <a:off x="4469985" y="5494166"/>
            <a:ext cx="1648396" cy="725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1300"/>
              </a:lnSpc>
            </a:pPr>
            <a:r>
              <a:rPr lang="ru-RU" sz="14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2021 год (проект)</a:t>
            </a:r>
            <a:endParaRPr lang="ru-RU" sz="14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33" name="Прямоугольник 32"/>
          <p:cNvSpPr/>
          <p:nvPr>
            <p:custDataLst>
              <p:tags r:id="rId15"/>
            </p:custDataLst>
          </p:nvPr>
        </p:nvSpPr>
        <p:spPr>
          <a:xfrm>
            <a:off x="6026692" y="5471885"/>
            <a:ext cx="1648396" cy="725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1300"/>
              </a:lnSpc>
            </a:pPr>
            <a:r>
              <a:rPr lang="ru-RU" sz="14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2022 год (проект)</a:t>
            </a:r>
            <a:endParaRPr lang="ru-RU" sz="14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1" name="Прямоугольник 20"/>
          <p:cNvSpPr/>
          <p:nvPr>
            <p:custDataLst>
              <p:tags r:id="rId16"/>
            </p:custDataLst>
          </p:nvPr>
        </p:nvSpPr>
        <p:spPr>
          <a:xfrm>
            <a:off x="7480677" y="5481958"/>
            <a:ext cx="1648396" cy="725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1300"/>
              </a:lnSpc>
            </a:pPr>
            <a:r>
              <a:rPr lang="ru-RU" sz="14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2023 год (проект)</a:t>
            </a:r>
            <a:endParaRPr lang="ru-RU" sz="14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3" name="Выгнутая вверх стрелка 22"/>
          <p:cNvSpPr/>
          <p:nvPr/>
        </p:nvSpPr>
        <p:spPr>
          <a:xfrm rot="21261918">
            <a:off x="628124" y="853186"/>
            <a:ext cx="4213456" cy="923059"/>
          </a:xfrm>
          <a:prstGeom prst="curved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31" name="Скругленный прямоугольник 30"/>
          <p:cNvSpPr>
            <a:spLocks noChangeAspect="1"/>
          </p:cNvSpPr>
          <p:nvPr>
            <p:custDataLst>
              <p:tags r:id="rId17"/>
            </p:custDataLst>
          </p:nvPr>
        </p:nvSpPr>
        <p:spPr>
          <a:xfrm rot="19943424">
            <a:off x="4003750" y="2631764"/>
            <a:ext cx="845203" cy="327494"/>
          </a:xfrm>
          <a:prstGeom prst="roundRect">
            <a:avLst>
              <a:gd name="adj" fmla="val 50000"/>
            </a:avLst>
          </a:prstGeom>
          <a:solidFill>
            <a:srgbClr val="FF0000"/>
          </a:solidFill>
          <a:ln>
            <a:solidFill>
              <a:srgbClr val="FF0000"/>
            </a:solidFill>
          </a:ln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1400" b="1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200" b="1" dirty="0" smtClean="0">
                <a:solidFill>
                  <a:schemeClr val="tx1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+38,9</a:t>
            </a:r>
          </a:p>
        </p:txBody>
      </p:sp>
      <p:sp>
        <p:nvSpPr>
          <p:cNvPr id="34" name="Скругленный прямоугольник 33"/>
          <p:cNvSpPr>
            <a:spLocks noChangeAspect="1"/>
          </p:cNvSpPr>
          <p:nvPr>
            <p:custDataLst>
              <p:tags r:id="rId18"/>
            </p:custDataLst>
          </p:nvPr>
        </p:nvSpPr>
        <p:spPr>
          <a:xfrm rot="938767">
            <a:off x="5396256" y="3963900"/>
            <a:ext cx="917376" cy="319355"/>
          </a:xfrm>
          <a:prstGeom prst="roundRect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1400" b="1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200" b="1" dirty="0" smtClean="0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-1015,2</a:t>
            </a:r>
          </a:p>
        </p:txBody>
      </p:sp>
      <p:cxnSp>
        <p:nvCxnSpPr>
          <p:cNvPr id="35" name="Прямая со стрелкой 34"/>
          <p:cNvCxnSpPr/>
          <p:nvPr/>
        </p:nvCxnSpPr>
        <p:spPr>
          <a:xfrm flipV="1">
            <a:off x="1487204" y="2083068"/>
            <a:ext cx="832251" cy="474888"/>
          </a:xfrm>
          <a:prstGeom prst="straightConnector1">
            <a:avLst/>
          </a:prstGeom>
          <a:ln w="38100" cap="rnd">
            <a:solidFill>
              <a:srgbClr val="FF000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/>
          <p:nvPr/>
        </p:nvCxnSpPr>
        <p:spPr>
          <a:xfrm flipV="1">
            <a:off x="4130480" y="2868395"/>
            <a:ext cx="931334" cy="509911"/>
          </a:xfrm>
          <a:prstGeom prst="straightConnector1">
            <a:avLst/>
          </a:prstGeom>
          <a:ln w="38100" cap="rnd">
            <a:solidFill>
              <a:srgbClr val="FF000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/>
          <p:nvPr/>
        </p:nvCxnSpPr>
        <p:spPr>
          <a:xfrm>
            <a:off x="5434846" y="3614574"/>
            <a:ext cx="1081370" cy="318950"/>
          </a:xfrm>
          <a:prstGeom prst="straightConnector1">
            <a:avLst/>
          </a:prstGeom>
          <a:ln w="38100" cap="rnd">
            <a:solidFill>
              <a:srgbClr val="70B4AF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5823144">
            <a:off x="-1334703" y="3405097"/>
            <a:ext cx="4295540" cy="1483150"/>
          </a:xfrm>
          <a:prstGeom prst="rect">
            <a:avLst/>
          </a:prstGeom>
        </p:spPr>
      </p:pic>
      <p:sp>
        <p:nvSpPr>
          <p:cNvPr id="25" name="Скругленный прямоугольник 24"/>
          <p:cNvSpPr>
            <a:spLocks noChangeAspect="1"/>
          </p:cNvSpPr>
          <p:nvPr>
            <p:custDataLst>
              <p:tags r:id="rId19"/>
            </p:custDataLst>
          </p:nvPr>
        </p:nvSpPr>
        <p:spPr>
          <a:xfrm rot="19762926">
            <a:off x="1206640" y="1879179"/>
            <a:ext cx="813465" cy="349144"/>
          </a:xfrm>
          <a:prstGeom prst="roundRect">
            <a:avLst>
              <a:gd name="adj" fmla="val 50000"/>
            </a:avLst>
          </a:prstGeom>
          <a:solidFill>
            <a:srgbClr val="FF0000"/>
          </a:solidFill>
          <a:ln>
            <a:solidFill>
              <a:srgbClr val="FF0000"/>
            </a:solidFill>
          </a:ln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ea typeface="Tahoma" pitchFamily="34" charset="0"/>
                <a:cs typeface="Tahoma" pitchFamily="34" charset="0"/>
              </a:rPr>
              <a:t>+1145,7</a:t>
            </a:r>
            <a:endParaRPr lang="ru-RU" sz="1200" b="1" dirty="0" smtClean="0">
              <a:solidFill>
                <a:schemeClr val="tx1"/>
              </a:solidFill>
              <a:latin typeface="Century Gothic" panose="020B0502020202020204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6541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6300192" y="4365104"/>
            <a:ext cx="2987675" cy="15843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FF0000"/>
                </a:solidFill>
                <a:cs typeface="Times New Roman" pitchFamily="18" charset="0"/>
              </a:rPr>
              <a:t>   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7126188" y="5623148"/>
            <a:ext cx="1728192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200"/>
              </a:lnSpc>
            </a:pPr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18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010400" y="6344610"/>
            <a:ext cx="2133600" cy="365125"/>
          </a:xfrm>
        </p:spPr>
        <p:txBody>
          <a:bodyPr/>
          <a:lstStyle/>
          <a:p>
            <a:pPr>
              <a:defRPr/>
            </a:pPr>
            <a:fld id="{3FAEF75E-59B5-46F9-AED9-8B3BB81C06F4}" type="slidenum">
              <a:rPr lang="ru-RU">
                <a:ln>
                  <a:solidFill>
                    <a:schemeClr val="accent6">
                      <a:lumMod val="75000"/>
                    </a:schemeClr>
                  </a:solidFill>
                </a:ln>
                <a:latin typeface="+mn-lt"/>
              </a:rPr>
              <a:pPr>
                <a:defRPr/>
              </a:pPr>
              <a:t>5</a:t>
            </a:fld>
            <a:endParaRPr lang="ru-RU" dirty="0">
              <a:ln>
                <a:solidFill>
                  <a:schemeClr val="accent6">
                    <a:lumMod val="75000"/>
                  </a:schemeClr>
                </a:solidFill>
              </a:ln>
              <a:latin typeface="+mn-lt"/>
            </a:endParaRPr>
          </a:p>
        </p:txBody>
      </p:sp>
      <p:sp>
        <p:nvSpPr>
          <p:cNvPr id="28" name="Text Box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-24730" y="188640"/>
            <a:ext cx="9168730" cy="781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fontAlgn="auto" hangingPunct="0">
              <a:lnSpc>
                <a:spcPct val="80000"/>
              </a:lnSpc>
              <a:spcAft>
                <a:spcPts val="0"/>
              </a:spcAft>
              <a:defRPr/>
            </a:pPr>
            <a:r>
              <a:rPr lang="ru-RU" altLang="ru-RU" sz="2800" dirty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Повышение оплаты труда </a:t>
            </a:r>
            <a:r>
              <a:rPr lang="ru-RU" altLang="ru-RU" sz="2800" dirty="0" smtClean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работников муниципальных учреждений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555776" y="1413573"/>
            <a:ext cx="1686689" cy="369310"/>
          </a:xfrm>
          <a:prstGeom prst="rect">
            <a:avLst/>
          </a:prstGeom>
          <a:noFill/>
        </p:spPr>
        <p:txBody>
          <a:bodyPr wrap="square" lIns="91420" tIns="45709" rIns="91420" bIns="45709">
            <a:spAutoFit/>
          </a:bodyPr>
          <a:lstStyle/>
          <a:p>
            <a:pPr algn="r">
              <a:defRPr/>
            </a:pPr>
            <a:r>
              <a:rPr lang="ru-RU" i="1" dirty="0" smtClean="0">
                <a:ln>
                  <a:solidFill>
                    <a:schemeClr val="tx1"/>
                  </a:solidFill>
                </a:ln>
                <a:ea typeface="Tahoma" pitchFamily="34" charset="0"/>
                <a:cs typeface="Tahoma" pitchFamily="34" charset="0"/>
              </a:rPr>
              <a:t>млн. рублей</a:t>
            </a:r>
            <a:endParaRPr lang="ru-RU" i="1" dirty="0">
              <a:ln>
                <a:solidFill>
                  <a:schemeClr val="tx1"/>
                </a:solidFill>
              </a:ln>
              <a:ea typeface="Tahoma" pitchFamily="34" charset="0"/>
              <a:cs typeface="Tahoma" pitchFamily="34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 rot="5400000">
            <a:off x="5736523" y="2395615"/>
            <a:ext cx="2000453" cy="4653799"/>
          </a:xfrm>
          <a:prstGeom prst="roundRect">
            <a:avLst>
              <a:gd name="adj" fmla="val 631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Скругленный прямоугольник 23"/>
          <p:cNvSpPr/>
          <p:nvPr/>
        </p:nvSpPr>
        <p:spPr>
          <a:xfrm rot="5400000">
            <a:off x="5784953" y="-58843"/>
            <a:ext cx="1903594" cy="4653799"/>
          </a:xfrm>
          <a:prstGeom prst="roundRect">
            <a:avLst>
              <a:gd name="adj" fmla="val 631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6984385"/>
              </p:ext>
            </p:extLst>
          </p:nvPr>
        </p:nvGraphicFramePr>
        <p:xfrm>
          <a:off x="4562799" y="1640552"/>
          <a:ext cx="4372991" cy="1398377"/>
        </p:xfrm>
        <a:graphic>
          <a:graphicData uri="http://schemas.openxmlformats.org/drawingml/2006/table">
            <a:tbl>
              <a:tblPr>
                <a:effectLst/>
                <a:tableStyleId>{F5AB1C69-6EDB-4FF4-983F-18BD219EF322}</a:tableStyleId>
              </a:tblPr>
              <a:tblGrid>
                <a:gridCol w="1266641"/>
                <a:gridCol w="774058"/>
                <a:gridCol w="703689"/>
                <a:gridCol w="774058"/>
                <a:gridCol w="854545"/>
              </a:tblGrid>
              <a:tr h="543451">
                <a:tc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991" marR="3991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CC8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20 год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3991" marR="3991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CC8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21 год</a:t>
                      </a:r>
                      <a:endParaRPr lang="ru-RU" sz="1000" b="1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3991" marR="3991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CC8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22</a:t>
                      </a:r>
                      <a:r>
                        <a:rPr lang="ru-RU" sz="1000" b="1" kern="1200" baseline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год</a:t>
                      </a:r>
                      <a:endParaRPr lang="en-US" sz="1000" b="1" kern="1200" dirty="0" smtClean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3991" marR="3991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CC8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23 год</a:t>
                      </a:r>
                      <a:endParaRPr lang="en-US" sz="1000" b="1" kern="1200" dirty="0" smtClean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3991" marR="3991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CC8EA"/>
                    </a:solidFill>
                  </a:tcPr>
                </a:tc>
              </a:tr>
              <a:tr h="854926">
                <a:tc>
                  <a:txBody>
                    <a:bodyPr/>
                    <a:lstStyle/>
                    <a:p>
                      <a:pPr algn="l" fontAlgn="t">
                        <a:lnSpc>
                          <a:spcPts val="1200"/>
                        </a:lnSpc>
                      </a:pPr>
                      <a:r>
                        <a:rPr lang="ru-RU" sz="9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Среднемесячный </a:t>
                      </a:r>
                      <a:r>
                        <a:rPr lang="en-US" sz="9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9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доход  от</a:t>
                      </a:r>
                      <a:r>
                        <a:rPr lang="en-US" sz="9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9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 трудовой деятельности (руб.)</a:t>
                      </a:r>
                      <a:endParaRPr lang="ru-RU" sz="9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72000" marR="3991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25697,0</a:t>
                      </a:r>
                      <a:endParaRPr lang="ru-RU" sz="10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108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26250,6</a:t>
                      </a:r>
                      <a:endParaRPr lang="ru-RU" sz="10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108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27037,4</a:t>
                      </a:r>
                      <a:endParaRPr lang="ru-RU" sz="10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108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1" kern="1200" dirty="0" smtClean="0">
                          <a:solidFill>
                            <a:schemeClr val="dk1"/>
                          </a:solidFill>
                          <a:latin typeface="Century Gothic" panose="020B0502020202020204" pitchFamily="34" charset="0"/>
                          <a:ea typeface="Tahoma" pitchFamily="34" charset="0"/>
                          <a:cs typeface="Times New Roman" pitchFamily="18" charset="0"/>
                        </a:rPr>
                        <a:t>27848,5</a:t>
                      </a:r>
                      <a:endParaRPr lang="ru-RU" sz="1000" b="1" kern="1200" dirty="0">
                        <a:solidFill>
                          <a:schemeClr val="dk1"/>
                        </a:solidFill>
                        <a:latin typeface="Century Gothic" panose="020B0502020202020204" pitchFamily="34" charset="0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108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7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5730767" y="1293730"/>
            <a:ext cx="225574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latin typeface="Century Gothic" panose="020B0502020202020204" pitchFamily="34" charset="0"/>
              </a:rPr>
              <a:t>Целевые категории</a:t>
            </a:r>
            <a:endParaRPr lang="ru-RU" sz="1600" b="1" dirty="0">
              <a:latin typeface="Century Gothic" panose="020B0502020202020204" pitchFamily="34" charset="0"/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2"/>
            </p:custDataLst>
          </p:nvPr>
        </p:nvSpPr>
        <p:spPr>
          <a:xfrm>
            <a:off x="4709901" y="4115409"/>
            <a:ext cx="3883770" cy="53268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6" name="Прямоугольник 25"/>
          <p:cNvSpPr/>
          <p:nvPr>
            <p:custDataLst>
              <p:tags r:id="rId3"/>
            </p:custDataLst>
          </p:nvPr>
        </p:nvSpPr>
        <p:spPr>
          <a:xfrm>
            <a:off x="4709901" y="4816245"/>
            <a:ext cx="4123456" cy="5603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1" name="TextBox 30"/>
          <p:cNvSpPr txBox="1"/>
          <p:nvPr/>
        </p:nvSpPr>
        <p:spPr>
          <a:xfrm>
            <a:off x="6084166" y="3301793"/>
            <a:ext cx="16722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latin typeface="Century Gothic" panose="020B0502020202020204" pitchFamily="34" charset="0"/>
              </a:rPr>
              <a:t>МРОТ, рублей</a:t>
            </a:r>
            <a:endParaRPr lang="ru-RU" sz="1600" b="1" dirty="0">
              <a:latin typeface="Century Gothic" panose="020B0502020202020204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4801684" y="4854514"/>
            <a:ext cx="1359167" cy="5040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ts val="1400"/>
              </a:lnSpc>
            </a:pPr>
            <a:r>
              <a:rPr lang="ru-RU" sz="16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01.01.2021</a:t>
            </a:r>
            <a:endParaRPr lang="ru-RU" sz="1600" b="1" dirty="0">
              <a:solidFill>
                <a:schemeClr val="tx1"/>
              </a:solidFill>
              <a:latin typeface="Century Gothic" panose="020B0502020202020204" pitchFamily="34" charset="0"/>
              <a:ea typeface="Tahoma" pitchFamily="34" charset="0"/>
              <a:cs typeface="Times New Roman" pitchFamily="18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4822953" y="4163827"/>
            <a:ext cx="1274808" cy="5040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ts val="1400"/>
              </a:lnSpc>
            </a:pPr>
            <a:r>
              <a:rPr lang="ru-RU" sz="16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01.01.2020</a:t>
            </a:r>
            <a:endParaRPr lang="ru-RU" sz="1600" b="1" dirty="0">
              <a:solidFill>
                <a:schemeClr val="tx1"/>
              </a:solidFill>
              <a:latin typeface="Century Gothic" panose="020B0502020202020204" pitchFamily="34" charset="0"/>
              <a:ea typeface="Tahoma" pitchFamily="34" charset="0"/>
              <a:cs typeface="Times New Roman" pitchFamily="18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7827392" y="4223092"/>
            <a:ext cx="1185019" cy="256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ts val="1400"/>
              </a:lnSpc>
            </a:pPr>
            <a:r>
              <a:rPr lang="ru-RU" sz="16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12130</a:t>
            </a:r>
            <a:endParaRPr lang="ru-RU" sz="1600" b="1" dirty="0">
              <a:solidFill>
                <a:schemeClr val="tx1"/>
              </a:solidFill>
              <a:latin typeface="Century Gothic" panose="020B0502020202020204" pitchFamily="34" charset="0"/>
              <a:ea typeface="Tahoma" pitchFamily="34" charset="0"/>
              <a:cs typeface="Times New Roman" pitchFamily="18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8067871" y="4878301"/>
            <a:ext cx="1278549" cy="5040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ts val="1400"/>
              </a:lnSpc>
            </a:pPr>
            <a:r>
              <a:rPr lang="ru-RU" sz="16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12392</a:t>
            </a:r>
            <a:endParaRPr lang="ru-RU" sz="1600" b="1" dirty="0">
              <a:solidFill>
                <a:schemeClr val="tx1"/>
              </a:solidFill>
              <a:latin typeface="Century Gothic" panose="020B0502020202020204" pitchFamily="34" charset="0"/>
              <a:ea typeface="Tahoma" pitchFamily="34" charset="0"/>
              <a:cs typeface="Times New Roman" pitchFamily="18" charset="0"/>
            </a:endParaRPr>
          </a:p>
        </p:txBody>
      </p:sp>
      <p:graphicFrame>
        <p:nvGraphicFramePr>
          <p:cNvPr id="22" name="Диаграмма 21"/>
          <p:cNvGraphicFramePr/>
          <p:nvPr>
            <p:extLst>
              <p:ext uri="{D42A27DB-BD31-4B8C-83A1-F6EECF244321}">
                <p14:modId xmlns:p14="http://schemas.microsoft.com/office/powerpoint/2010/main" val="3468989052"/>
              </p:ext>
            </p:extLst>
          </p:nvPr>
        </p:nvGraphicFramePr>
        <p:xfrm>
          <a:off x="-360060" y="2224565"/>
          <a:ext cx="4930621" cy="43825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0" name="Прямоугольник 59"/>
          <p:cNvSpPr/>
          <p:nvPr>
            <p:custDataLst>
              <p:tags r:id="rId4"/>
            </p:custDataLst>
          </p:nvPr>
        </p:nvSpPr>
        <p:spPr>
          <a:xfrm>
            <a:off x="2804928" y="5130329"/>
            <a:ext cx="609543" cy="43881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3,8</a:t>
            </a:r>
            <a:endParaRPr lang="ru-RU" sz="16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 flipH="1" flipV="1">
            <a:off x="3087844" y="4365104"/>
            <a:ext cx="2489" cy="647163"/>
          </a:xfrm>
          <a:prstGeom prst="line">
            <a:avLst/>
          </a:prstGeom>
          <a:ln w="82550" cap="rnd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>
            <a:off x="3505941" y="5330493"/>
            <a:ext cx="946499" cy="19243"/>
          </a:xfrm>
          <a:prstGeom prst="line">
            <a:avLst/>
          </a:prstGeom>
          <a:ln w="82550" cap="rnd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 flipV="1">
            <a:off x="1115616" y="2348880"/>
            <a:ext cx="0" cy="1164470"/>
          </a:xfrm>
          <a:prstGeom prst="line">
            <a:avLst/>
          </a:prstGeom>
          <a:ln w="82550" cap="rnd">
            <a:solidFill>
              <a:schemeClr val="accent3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/>
        </p:nvCxnSpPr>
        <p:spPr>
          <a:xfrm flipH="1">
            <a:off x="1470122" y="2120333"/>
            <a:ext cx="2772343" cy="10885"/>
          </a:xfrm>
          <a:prstGeom prst="line">
            <a:avLst/>
          </a:prstGeom>
          <a:ln w="82550" cap="rnd">
            <a:solidFill>
              <a:schemeClr val="accent3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Прямоугольник 79"/>
          <p:cNvSpPr/>
          <p:nvPr>
            <p:custDataLst>
              <p:tags r:id="rId5"/>
            </p:custDataLst>
          </p:nvPr>
        </p:nvSpPr>
        <p:spPr>
          <a:xfrm>
            <a:off x="829175" y="1958484"/>
            <a:ext cx="609543" cy="438815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6,8</a:t>
            </a:r>
            <a:endParaRPr lang="ru-RU" sz="16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86" name="Овал 85"/>
          <p:cNvSpPr/>
          <p:nvPr/>
        </p:nvSpPr>
        <p:spPr bwMode="auto">
          <a:xfrm>
            <a:off x="924872" y="6068268"/>
            <a:ext cx="418151" cy="395181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b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8" name="Овал 87"/>
          <p:cNvSpPr/>
          <p:nvPr/>
        </p:nvSpPr>
        <p:spPr bwMode="auto">
          <a:xfrm>
            <a:off x="1484073" y="6068268"/>
            <a:ext cx="419819" cy="395181"/>
          </a:xfrm>
          <a:prstGeom prst="ellipse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b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9" name="Прямоугольник 88"/>
          <p:cNvSpPr/>
          <p:nvPr/>
        </p:nvSpPr>
        <p:spPr>
          <a:xfrm>
            <a:off x="2339752" y="6216369"/>
            <a:ext cx="5161451" cy="247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200"/>
              </a:lnSpc>
            </a:pPr>
            <a:r>
              <a:rPr lang="ru-RU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Муниципальные учреждения</a:t>
            </a:r>
            <a:endParaRPr lang="ru-RU" sz="20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Овал 10"/>
          <p:cNvSpPr/>
          <p:nvPr/>
        </p:nvSpPr>
        <p:spPr>
          <a:xfrm>
            <a:off x="281614" y="3295110"/>
            <a:ext cx="1206342" cy="1159884"/>
          </a:xfrm>
          <a:prstGeom prst="ellipse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24" name="Объект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94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Номер слайда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F01F4732-32EE-4C7F-AC1F-76C1CDFF52B7}" type="slidenum">
              <a:rPr lang="ru-RU">
                <a:ln>
                  <a:solidFill>
                    <a:schemeClr val="accent6">
                      <a:lumMod val="75000"/>
                    </a:schemeClr>
                  </a:solidFill>
                </a:ln>
                <a:latin typeface="+mn-lt"/>
              </a:rPr>
              <a:pPr>
                <a:defRPr/>
              </a:pPr>
              <a:t>6</a:t>
            </a:fld>
            <a:endParaRPr lang="ru-RU" dirty="0">
              <a:ln>
                <a:solidFill>
                  <a:schemeClr val="accent6">
                    <a:lumMod val="75000"/>
                  </a:schemeClr>
                </a:solidFill>
              </a:ln>
              <a:latin typeface="+mn-lt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7308304" y="836712"/>
            <a:ext cx="1686689" cy="369310"/>
          </a:xfrm>
          <a:prstGeom prst="rect">
            <a:avLst/>
          </a:prstGeom>
          <a:noFill/>
        </p:spPr>
        <p:txBody>
          <a:bodyPr wrap="square" lIns="91420" tIns="45709" rIns="91420" bIns="45709">
            <a:spAutoFit/>
          </a:bodyPr>
          <a:lstStyle/>
          <a:p>
            <a:pPr algn="r">
              <a:defRPr/>
            </a:pPr>
            <a:r>
              <a:rPr lang="ru-RU" i="1" dirty="0" smtClean="0">
                <a:ln>
                  <a:solidFill>
                    <a:schemeClr val="tx1"/>
                  </a:solidFill>
                </a:ln>
                <a:ea typeface="Tahoma" pitchFamily="34" charset="0"/>
                <a:cs typeface="Tahoma" pitchFamily="34" charset="0"/>
              </a:rPr>
              <a:t>млн. рублей</a:t>
            </a:r>
            <a:endParaRPr lang="ru-RU" i="1" dirty="0">
              <a:ln>
                <a:solidFill>
                  <a:schemeClr val="tx1"/>
                </a:solidFill>
              </a:ln>
              <a:ea typeface="Tahoma" pitchFamily="34" charset="0"/>
              <a:cs typeface="Tahoma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0" y="188640"/>
            <a:ext cx="9144000" cy="7817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800" dirty="0" smtClean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Функциональная</a:t>
            </a:r>
            <a:r>
              <a:rPr lang="en-US" altLang="ru-RU" sz="2800" dirty="0" smtClean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altLang="ru-RU" sz="2800" dirty="0" smtClean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 структура</a:t>
            </a:r>
            <a:r>
              <a:rPr lang="en-US" altLang="ru-RU" sz="2800" dirty="0" smtClean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altLang="ru-RU" sz="2800" dirty="0" smtClean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 расходов</a:t>
            </a:r>
            <a:r>
              <a:rPr lang="en-US" altLang="ru-RU" sz="2800" dirty="0" smtClean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ru-RU" altLang="ru-RU" sz="2800" dirty="0" smtClean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 бюджета </a:t>
            </a:r>
          </a:p>
          <a:p>
            <a:pPr algn="ctr" eaLnBrk="0" hangingPunct="0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800" dirty="0" smtClean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на 2021 год </a:t>
            </a:r>
          </a:p>
        </p:txBody>
      </p:sp>
      <p:sp>
        <p:nvSpPr>
          <p:cNvPr id="45" name="object 123"/>
          <p:cNvSpPr/>
          <p:nvPr/>
        </p:nvSpPr>
        <p:spPr>
          <a:xfrm>
            <a:off x="154661" y="1764978"/>
            <a:ext cx="2653429" cy="1330811"/>
          </a:xfrm>
          <a:custGeom>
            <a:avLst/>
            <a:gdLst/>
            <a:ahLst/>
            <a:cxnLst/>
            <a:rect l="l" t="t" r="r" b="b"/>
            <a:pathLst>
              <a:path w="2618104" h="1254760">
                <a:moveTo>
                  <a:pt x="1517878" y="0"/>
                </a:moveTo>
                <a:lnTo>
                  <a:pt x="1517878" y="495"/>
                </a:lnTo>
                <a:lnTo>
                  <a:pt x="1481781" y="4047"/>
                </a:lnTo>
                <a:lnTo>
                  <a:pt x="1446841" y="14673"/>
                </a:lnTo>
                <a:lnTo>
                  <a:pt x="1414187" y="32354"/>
                </a:lnTo>
                <a:lnTo>
                  <a:pt x="1384947" y="57073"/>
                </a:lnTo>
                <a:lnTo>
                  <a:pt x="603224" y="884516"/>
                </a:lnTo>
                <a:lnTo>
                  <a:pt x="0" y="884516"/>
                </a:lnTo>
                <a:lnTo>
                  <a:pt x="0" y="1254429"/>
                </a:lnTo>
                <a:lnTo>
                  <a:pt x="681520" y="1254442"/>
                </a:lnTo>
                <a:lnTo>
                  <a:pt x="723253" y="1249713"/>
                </a:lnTo>
                <a:lnTo>
                  <a:pt x="761642" y="1236230"/>
                </a:lnTo>
                <a:lnTo>
                  <a:pt x="795629" y="1215051"/>
                </a:lnTo>
                <a:lnTo>
                  <a:pt x="824153" y="1187234"/>
                </a:lnTo>
                <a:lnTo>
                  <a:pt x="1596174" y="369912"/>
                </a:lnTo>
                <a:lnTo>
                  <a:pt x="2618041" y="369912"/>
                </a:lnTo>
                <a:lnTo>
                  <a:pt x="2618041" y="12"/>
                </a:lnTo>
                <a:lnTo>
                  <a:pt x="1517878" y="0"/>
                </a:lnTo>
                <a:close/>
              </a:path>
              <a:path w="2618104" h="1254760">
                <a:moveTo>
                  <a:pt x="2618041" y="369912"/>
                </a:moveTo>
                <a:lnTo>
                  <a:pt x="1596174" y="369912"/>
                </a:lnTo>
                <a:lnTo>
                  <a:pt x="2618041" y="369925"/>
                </a:lnTo>
                <a:close/>
              </a:path>
            </a:pathLst>
          </a:custGeom>
          <a:solidFill>
            <a:srgbClr val="00AEE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122"/>
          <p:cNvSpPr/>
          <p:nvPr/>
        </p:nvSpPr>
        <p:spPr>
          <a:xfrm>
            <a:off x="401123" y="2161292"/>
            <a:ext cx="2406968" cy="1067942"/>
          </a:xfrm>
          <a:custGeom>
            <a:avLst/>
            <a:gdLst/>
            <a:ahLst/>
            <a:cxnLst/>
            <a:rect l="l" t="t" r="r" b="b"/>
            <a:pathLst>
              <a:path w="2147570" h="844550">
                <a:moveTo>
                  <a:pt x="0" y="474433"/>
                </a:moveTo>
                <a:lnTo>
                  <a:pt x="0" y="844346"/>
                </a:lnTo>
                <a:lnTo>
                  <a:pt x="791832" y="844359"/>
                </a:lnTo>
                <a:lnTo>
                  <a:pt x="833565" y="839630"/>
                </a:lnTo>
                <a:lnTo>
                  <a:pt x="871955" y="826147"/>
                </a:lnTo>
                <a:lnTo>
                  <a:pt x="905941" y="804968"/>
                </a:lnTo>
                <a:lnTo>
                  <a:pt x="934466" y="777151"/>
                </a:lnTo>
                <a:lnTo>
                  <a:pt x="1216751" y="474446"/>
                </a:lnTo>
                <a:lnTo>
                  <a:pt x="0" y="474433"/>
                </a:lnTo>
                <a:close/>
              </a:path>
              <a:path w="2147570" h="844550">
                <a:moveTo>
                  <a:pt x="1235951" y="0"/>
                </a:moveTo>
                <a:lnTo>
                  <a:pt x="1235951" y="507"/>
                </a:lnTo>
                <a:lnTo>
                  <a:pt x="1199851" y="4052"/>
                </a:lnTo>
                <a:lnTo>
                  <a:pt x="1164907" y="14674"/>
                </a:lnTo>
                <a:lnTo>
                  <a:pt x="1132249" y="32354"/>
                </a:lnTo>
                <a:lnTo>
                  <a:pt x="1103007" y="57073"/>
                </a:lnTo>
                <a:lnTo>
                  <a:pt x="713536" y="474446"/>
                </a:lnTo>
                <a:lnTo>
                  <a:pt x="1216763" y="474433"/>
                </a:lnTo>
                <a:lnTo>
                  <a:pt x="1314234" y="369912"/>
                </a:lnTo>
                <a:lnTo>
                  <a:pt x="2147112" y="369912"/>
                </a:lnTo>
                <a:lnTo>
                  <a:pt x="2147112" y="12"/>
                </a:lnTo>
                <a:lnTo>
                  <a:pt x="1235951" y="0"/>
                </a:lnTo>
                <a:close/>
              </a:path>
              <a:path w="2147570" h="844550">
                <a:moveTo>
                  <a:pt x="2147112" y="369912"/>
                </a:moveTo>
                <a:lnTo>
                  <a:pt x="1314234" y="369912"/>
                </a:lnTo>
                <a:lnTo>
                  <a:pt x="2147112" y="369925"/>
                </a:lnTo>
                <a:close/>
              </a:path>
            </a:pathLst>
          </a:custGeom>
          <a:solidFill>
            <a:srgbClr val="0095D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119"/>
          <p:cNvSpPr/>
          <p:nvPr/>
        </p:nvSpPr>
        <p:spPr>
          <a:xfrm>
            <a:off x="560327" y="4625946"/>
            <a:ext cx="2218638" cy="1058633"/>
          </a:xfrm>
          <a:custGeom>
            <a:avLst/>
            <a:gdLst/>
            <a:ahLst/>
            <a:cxnLst/>
            <a:rect l="l" t="t" r="r" b="b"/>
            <a:pathLst>
              <a:path w="2141854" h="844550">
                <a:moveTo>
                  <a:pt x="0" y="0"/>
                </a:moveTo>
                <a:lnTo>
                  <a:pt x="0" y="369912"/>
                </a:lnTo>
                <a:lnTo>
                  <a:pt x="713524" y="369925"/>
                </a:lnTo>
                <a:lnTo>
                  <a:pt x="1102982" y="787311"/>
                </a:lnTo>
                <a:lnTo>
                  <a:pt x="1132223" y="812024"/>
                </a:lnTo>
                <a:lnTo>
                  <a:pt x="1164882" y="829705"/>
                </a:lnTo>
                <a:lnTo>
                  <a:pt x="1199826" y="840330"/>
                </a:lnTo>
                <a:lnTo>
                  <a:pt x="1235925" y="843876"/>
                </a:lnTo>
                <a:lnTo>
                  <a:pt x="1235925" y="844384"/>
                </a:lnTo>
                <a:lnTo>
                  <a:pt x="2141537" y="844397"/>
                </a:lnTo>
                <a:lnTo>
                  <a:pt x="2141550" y="474484"/>
                </a:lnTo>
                <a:lnTo>
                  <a:pt x="1314221" y="474472"/>
                </a:lnTo>
                <a:lnTo>
                  <a:pt x="934466" y="67233"/>
                </a:lnTo>
                <a:lnTo>
                  <a:pt x="905941" y="39408"/>
                </a:lnTo>
                <a:lnTo>
                  <a:pt x="871955" y="18226"/>
                </a:lnTo>
                <a:lnTo>
                  <a:pt x="833565" y="4742"/>
                </a:lnTo>
                <a:lnTo>
                  <a:pt x="791832" y="12"/>
                </a:lnTo>
                <a:lnTo>
                  <a:pt x="0" y="0"/>
                </a:lnTo>
                <a:close/>
              </a:path>
            </a:pathLst>
          </a:custGeom>
          <a:solidFill>
            <a:srgbClr val="0095D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120"/>
          <p:cNvSpPr/>
          <p:nvPr/>
        </p:nvSpPr>
        <p:spPr>
          <a:xfrm>
            <a:off x="84076" y="4579221"/>
            <a:ext cx="2694889" cy="1440160"/>
          </a:xfrm>
          <a:custGeom>
            <a:avLst/>
            <a:gdLst/>
            <a:ahLst/>
            <a:cxnLst/>
            <a:rect l="l" t="t" r="r" b="b"/>
            <a:pathLst>
              <a:path w="2618104" h="1254759">
                <a:moveTo>
                  <a:pt x="0" y="0"/>
                </a:moveTo>
                <a:lnTo>
                  <a:pt x="0" y="369912"/>
                </a:lnTo>
                <a:lnTo>
                  <a:pt x="608761" y="369925"/>
                </a:lnTo>
                <a:lnTo>
                  <a:pt x="1390459" y="1197394"/>
                </a:lnTo>
                <a:lnTo>
                  <a:pt x="1419698" y="1222115"/>
                </a:lnTo>
                <a:lnTo>
                  <a:pt x="1452352" y="1239799"/>
                </a:lnTo>
                <a:lnTo>
                  <a:pt x="1487293" y="1250425"/>
                </a:lnTo>
                <a:lnTo>
                  <a:pt x="1523390" y="1253972"/>
                </a:lnTo>
                <a:lnTo>
                  <a:pt x="1523390" y="1254480"/>
                </a:lnTo>
                <a:lnTo>
                  <a:pt x="2618003" y="1254493"/>
                </a:lnTo>
                <a:lnTo>
                  <a:pt x="2618003" y="884580"/>
                </a:lnTo>
                <a:lnTo>
                  <a:pt x="1601698" y="884567"/>
                </a:lnTo>
                <a:lnTo>
                  <a:pt x="829703" y="67221"/>
                </a:lnTo>
                <a:lnTo>
                  <a:pt x="801178" y="39403"/>
                </a:lnTo>
                <a:lnTo>
                  <a:pt x="767191" y="18224"/>
                </a:lnTo>
                <a:lnTo>
                  <a:pt x="728798" y="4741"/>
                </a:lnTo>
                <a:lnTo>
                  <a:pt x="687057" y="12"/>
                </a:lnTo>
                <a:lnTo>
                  <a:pt x="0" y="0"/>
                </a:lnTo>
                <a:close/>
              </a:path>
            </a:pathLst>
          </a:custGeom>
          <a:solidFill>
            <a:srgbClr val="00AEE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121"/>
          <p:cNvSpPr/>
          <p:nvPr/>
        </p:nvSpPr>
        <p:spPr>
          <a:xfrm>
            <a:off x="87652" y="4303972"/>
            <a:ext cx="2691313" cy="2188904"/>
          </a:xfrm>
          <a:custGeom>
            <a:avLst/>
            <a:gdLst/>
            <a:ahLst/>
            <a:cxnLst/>
            <a:rect l="l" t="t" r="r" b="b"/>
            <a:pathLst>
              <a:path w="2618104" h="1718309">
                <a:moveTo>
                  <a:pt x="77304" y="0"/>
                </a:moveTo>
                <a:lnTo>
                  <a:pt x="0" y="0"/>
                </a:lnTo>
                <a:lnTo>
                  <a:pt x="0" y="370967"/>
                </a:lnTo>
                <a:lnTo>
                  <a:pt x="1215732" y="1660969"/>
                </a:lnTo>
                <a:lnTo>
                  <a:pt x="1244966" y="1685690"/>
                </a:lnTo>
                <a:lnTo>
                  <a:pt x="1312564" y="1714001"/>
                </a:lnTo>
                <a:lnTo>
                  <a:pt x="1348663" y="1717548"/>
                </a:lnTo>
                <a:lnTo>
                  <a:pt x="1348663" y="1718056"/>
                </a:lnTo>
                <a:lnTo>
                  <a:pt x="2618003" y="1718068"/>
                </a:lnTo>
                <a:lnTo>
                  <a:pt x="2618003" y="1348155"/>
                </a:lnTo>
                <a:lnTo>
                  <a:pt x="1426959" y="1348143"/>
                </a:lnTo>
                <a:lnTo>
                  <a:pt x="219938" y="67221"/>
                </a:lnTo>
                <a:lnTo>
                  <a:pt x="191413" y="39395"/>
                </a:lnTo>
                <a:lnTo>
                  <a:pt x="157427" y="18213"/>
                </a:lnTo>
                <a:lnTo>
                  <a:pt x="119038" y="4729"/>
                </a:lnTo>
                <a:lnTo>
                  <a:pt x="77304" y="0"/>
                </a:lnTo>
                <a:close/>
              </a:path>
            </a:pathLst>
          </a:custGeom>
          <a:solidFill>
            <a:srgbClr val="8ED8F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124"/>
          <p:cNvSpPr/>
          <p:nvPr/>
        </p:nvSpPr>
        <p:spPr>
          <a:xfrm>
            <a:off x="154661" y="1332311"/>
            <a:ext cx="2653429" cy="2024681"/>
          </a:xfrm>
          <a:custGeom>
            <a:avLst/>
            <a:gdLst/>
            <a:ahLst/>
            <a:cxnLst/>
            <a:rect l="l" t="t" r="r" b="b"/>
            <a:pathLst>
              <a:path w="2618104" h="1718310">
                <a:moveTo>
                  <a:pt x="1343164" y="0"/>
                </a:moveTo>
                <a:lnTo>
                  <a:pt x="1343164" y="507"/>
                </a:lnTo>
                <a:lnTo>
                  <a:pt x="1307065" y="4054"/>
                </a:lnTo>
                <a:lnTo>
                  <a:pt x="1272122" y="14679"/>
                </a:lnTo>
                <a:lnTo>
                  <a:pt x="1239467" y="32360"/>
                </a:lnTo>
                <a:lnTo>
                  <a:pt x="1210233" y="57073"/>
                </a:lnTo>
                <a:lnTo>
                  <a:pt x="0" y="1341158"/>
                </a:lnTo>
                <a:lnTo>
                  <a:pt x="0" y="1718017"/>
                </a:lnTo>
                <a:lnTo>
                  <a:pt x="71755" y="1718017"/>
                </a:lnTo>
                <a:lnTo>
                  <a:pt x="113488" y="1713288"/>
                </a:lnTo>
                <a:lnTo>
                  <a:pt x="151877" y="1699806"/>
                </a:lnTo>
                <a:lnTo>
                  <a:pt x="185863" y="1678627"/>
                </a:lnTo>
                <a:lnTo>
                  <a:pt x="214388" y="1650809"/>
                </a:lnTo>
                <a:lnTo>
                  <a:pt x="1421460" y="369925"/>
                </a:lnTo>
                <a:lnTo>
                  <a:pt x="2618041" y="369925"/>
                </a:lnTo>
                <a:lnTo>
                  <a:pt x="2618054" y="25"/>
                </a:lnTo>
                <a:lnTo>
                  <a:pt x="1343164" y="0"/>
                </a:lnTo>
                <a:close/>
              </a:path>
              <a:path w="2618104" h="1718310">
                <a:moveTo>
                  <a:pt x="2618041" y="369925"/>
                </a:moveTo>
                <a:lnTo>
                  <a:pt x="1421460" y="369925"/>
                </a:lnTo>
                <a:lnTo>
                  <a:pt x="2618041" y="369938"/>
                </a:lnTo>
                <a:close/>
              </a:path>
            </a:pathLst>
          </a:custGeom>
          <a:solidFill>
            <a:srgbClr val="8ED8F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116"/>
          <p:cNvSpPr/>
          <p:nvPr/>
        </p:nvSpPr>
        <p:spPr>
          <a:xfrm>
            <a:off x="6309647" y="1735316"/>
            <a:ext cx="2685345" cy="1389784"/>
          </a:xfrm>
          <a:custGeom>
            <a:avLst/>
            <a:gdLst/>
            <a:ahLst/>
            <a:cxnLst/>
            <a:rect l="l" t="t" r="r" b="b"/>
            <a:pathLst>
              <a:path w="2614929" h="1252854">
                <a:moveTo>
                  <a:pt x="1098638" y="0"/>
                </a:moveTo>
                <a:lnTo>
                  <a:pt x="0" y="0"/>
                </a:lnTo>
                <a:lnTo>
                  <a:pt x="0" y="369354"/>
                </a:lnTo>
                <a:lnTo>
                  <a:pt x="1020445" y="369354"/>
                </a:lnTo>
                <a:lnTo>
                  <a:pt x="1791385" y="1185443"/>
                </a:lnTo>
                <a:lnTo>
                  <a:pt x="1819868" y="1213218"/>
                </a:lnTo>
                <a:lnTo>
                  <a:pt x="1853806" y="1234365"/>
                </a:lnTo>
                <a:lnTo>
                  <a:pt x="1892144" y="1247827"/>
                </a:lnTo>
                <a:lnTo>
                  <a:pt x="1933829" y="1252550"/>
                </a:lnTo>
                <a:lnTo>
                  <a:pt x="2614396" y="1252550"/>
                </a:lnTo>
                <a:lnTo>
                  <a:pt x="2614396" y="883196"/>
                </a:lnTo>
                <a:lnTo>
                  <a:pt x="2012010" y="883196"/>
                </a:lnTo>
                <a:lnTo>
                  <a:pt x="1231379" y="56997"/>
                </a:lnTo>
                <a:lnTo>
                  <a:pt x="1202185" y="32317"/>
                </a:lnTo>
                <a:lnTo>
                  <a:pt x="1169576" y="14660"/>
                </a:lnTo>
                <a:lnTo>
                  <a:pt x="1134683" y="4049"/>
                </a:lnTo>
                <a:lnTo>
                  <a:pt x="1098638" y="507"/>
                </a:lnTo>
                <a:lnTo>
                  <a:pt x="1098638" y="0"/>
                </a:lnTo>
                <a:close/>
              </a:path>
            </a:pathLst>
          </a:custGeom>
          <a:solidFill>
            <a:srgbClr val="7670B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115"/>
          <p:cNvSpPr/>
          <p:nvPr/>
        </p:nvSpPr>
        <p:spPr>
          <a:xfrm>
            <a:off x="6309646" y="2068232"/>
            <a:ext cx="2539162" cy="1168816"/>
          </a:xfrm>
          <a:custGeom>
            <a:avLst/>
            <a:gdLst/>
            <a:ahLst/>
            <a:cxnLst/>
            <a:rect l="l" t="t" r="r" b="b"/>
            <a:pathLst>
              <a:path w="2144395" h="843279">
                <a:moveTo>
                  <a:pt x="909904" y="0"/>
                </a:moveTo>
                <a:lnTo>
                  <a:pt x="0" y="0"/>
                </a:lnTo>
                <a:lnTo>
                  <a:pt x="0" y="369354"/>
                </a:lnTo>
                <a:lnTo>
                  <a:pt x="831723" y="369354"/>
                </a:lnTo>
                <a:lnTo>
                  <a:pt x="1210957" y="775970"/>
                </a:lnTo>
                <a:lnTo>
                  <a:pt x="1239440" y="803745"/>
                </a:lnTo>
                <a:lnTo>
                  <a:pt x="1273378" y="824891"/>
                </a:lnTo>
                <a:lnTo>
                  <a:pt x="1311716" y="838354"/>
                </a:lnTo>
                <a:lnTo>
                  <a:pt x="1353400" y="843076"/>
                </a:lnTo>
                <a:lnTo>
                  <a:pt x="2144128" y="843076"/>
                </a:lnTo>
                <a:lnTo>
                  <a:pt x="2144128" y="473722"/>
                </a:lnTo>
                <a:lnTo>
                  <a:pt x="1431582" y="473722"/>
                </a:lnTo>
                <a:lnTo>
                  <a:pt x="1042657" y="56984"/>
                </a:lnTo>
                <a:lnTo>
                  <a:pt x="1013458" y="32306"/>
                </a:lnTo>
                <a:lnTo>
                  <a:pt x="980847" y="14652"/>
                </a:lnTo>
                <a:lnTo>
                  <a:pt x="945954" y="4042"/>
                </a:lnTo>
                <a:lnTo>
                  <a:pt x="909904" y="495"/>
                </a:lnTo>
                <a:lnTo>
                  <a:pt x="909904" y="0"/>
                </a:lnTo>
                <a:close/>
              </a:path>
            </a:pathLst>
          </a:custGeom>
          <a:solidFill>
            <a:srgbClr val="A5468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117"/>
          <p:cNvSpPr/>
          <p:nvPr/>
        </p:nvSpPr>
        <p:spPr>
          <a:xfrm>
            <a:off x="6306854" y="1346564"/>
            <a:ext cx="2688138" cy="1882669"/>
          </a:xfrm>
          <a:custGeom>
            <a:avLst/>
            <a:gdLst/>
            <a:ahLst/>
            <a:cxnLst/>
            <a:rect l="l" t="t" r="r" b="b"/>
            <a:pathLst>
              <a:path w="2614929" h="1715770">
                <a:moveTo>
                  <a:pt x="1273124" y="0"/>
                </a:moveTo>
                <a:lnTo>
                  <a:pt x="0" y="0"/>
                </a:lnTo>
                <a:lnTo>
                  <a:pt x="0" y="369354"/>
                </a:lnTo>
                <a:lnTo>
                  <a:pt x="1194930" y="369354"/>
                </a:lnTo>
                <a:lnTo>
                  <a:pt x="2400300" y="1648307"/>
                </a:lnTo>
                <a:lnTo>
                  <a:pt x="2428789" y="1676082"/>
                </a:lnTo>
                <a:lnTo>
                  <a:pt x="2462730" y="1697229"/>
                </a:lnTo>
                <a:lnTo>
                  <a:pt x="2501066" y="1710692"/>
                </a:lnTo>
                <a:lnTo>
                  <a:pt x="2542743" y="1715414"/>
                </a:lnTo>
                <a:lnTo>
                  <a:pt x="2614396" y="1715414"/>
                </a:lnTo>
                <a:lnTo>
                  <a:pt x="2614396" y="1339126"/>
                </a:lnTo>
                <a:lnTo>
                  <a:pt x="1405864" y="56984"/>
                </a:lnTo>
                <a:lnTo>
                  <a:pt x="1376671" y="32306"/>
                </a:lnTo>
                <a:lnTo>
                  <a:pt x="1344061" y="14652"/>
                </a:lnTo>
                <a:lnTo>
                  <a:pt x="1309168" y="4042"/>
                </a:lnTo>
                <a:lnTo>
                  <a:pt x="1273124" y="495"/>
                </a:lnTo>
                <a:lnTo>
                  <a:pt x="1273124" y="0"/>
                </a:lnTo>
                <a:close/>
              </a:path>
            </a:pathLst>
          </a:custGeom>
          <a:solidFill>
            <a:srgbClr val="C7C4E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113"/>
          <p:cNvSpPr/>
          <p:nvPr/>
        </p:nvSpPr>
        <p:spPr>
          <a:xfrm>
            <a:off x="6308921" y="4709156"/>
            <a:ext cx="2688138" cy="1465750"/>
          </a:xfrm>
          <a:custGeom>
            <a:avLst/>
            <a:gdLst/>
            <a:ahLst/>
            <a:cxnLst/>
            <a:rect l="l" t="t" r="r" b="b"/>
            <a:pathLst>
              <a:path w="2614929" h="1252854">
                <a:moveTo>
                  <a:pt x="2614396" y="0"/>
                </a:moveTo>
                <a:lnTo>
                  <a:pt x="1928291" y="0"/>
                </a:lnTo>
                <a:lnTo>
                  <a:pt x="1886607" y="4722"/>
                </a:lnTo>
                <a:lnTo>
                  <a:pt x="1848269" y="18184"/>
                </a:lnTo>
                <a:lnTo>
                  <a:pt x="1814331" y="39331"/>
                </a:lnTo>
                <a:lnTo>
                  <a:pt x="1785848" y="67106"/>
                </a:lnTo>
                <a:lnTo>
                  <a:pt x="1014907" y="883196"/>
                </a:lnTo>
                <a:lnTo>
                  <a:pt x="0" y="883196"/>
                </a:lnTo>
                <a:lnTo>
                  <a:pt x="0" y="1252550"/>
                </a:lnTo>
                <a:lnTo>
                  <a:pt x="1093089" y="1252550"/>
                </a:lnTo>
                <a:lnTo>
                  <a:pt x="1093089" y="1252042"/>
                </a:lnTo>
                <a:lnTo>
                  <a:pt x="1129140" y="1248500"/>
                </a:lnTo>
                <a:lnTo>
                  <a:pt x="1164037" y="1237889"/>
                </a:lnTo>
                <a:lnTo>
                  <a:pt x="1196648" y="1220232"/>
                </a:lnTo>
                <a:lnTo>
                  <a:pt x="1225842" y="1195552"/>
                </a:lnTo>
                <a:lnTo>
                  <a:pt x="2006473" y="369354"/>
                </a:lnTo>
                <a:lnTo>
                  <a:pt x="2614396" y="369354"/>
                </a:lnTo>
                <a:lnTo>
                  <a:pt x="2614396" y="0"/>
                </a:lnTo>
                <a:close/>
              </a:path>
            </a:pathLst>
          </a:custGeom>
          <a:solidFill>
            <a:srgbClr val="7670B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112"/>
          <p:cNvSpPr/>
          <p:nvPr/>
        </p:nvSpPr>
        <p:spPr>
          <a:xfrm>
            <a:off x="6309646" y="4516876"/>
            <a:ext cx="2610623" cy="1220948"/>
          </a:xfrm>
          <a:custGeom>
            <a:avLst/>
            <a:gdLst/>
            <a:ahLst/>
            <a:cxnLst/>
            <a:rect l="l" t="t" r="r" b="b"/>
            <a:pathLst>
              <a:path w="2138679" h="843279">
                <a:moveTo>
                  <a:pt x="2138578" y="0"/>
                </a:moveTo>
                <a:lnTo>
                  <a:pt x="1347851" y="0"/>
                </a:lnTo>
                <a:lnTo>
                  <a:pt x="1306166" y="4722"/>
                </a:lnTo>
                <a:lnTo>
                  <a:pt x="1267828" y="18184"/>
                </a:lnTo>
                <a:lnTo>
                  <a:pt x="1233890" y="39331"/>
                </a:lnTo>
                <a:lnTo>
                  <a:pt x="1205407" y="67106"/>
                </a:lnTo>
                <a:lnTo>
                  <a:pt x="826173" y="473722"/>
                </a:lnTo>
                <a:lnTo>
                  <a:pt x="0" y="473722"/>
                </a:lnTo>
                <a:lnTo>
                  <a:pt x="0" y="843076"/>
                </a:lnTo>
                <a:lnTo>
                  <a:pt x="904354" y="843076"/>
                </a:lnTo>
                <a:lnTo>
                  <a:pt x="904354" y="842581"/>
                </a:lnTo>
                <a:lnTo>
                  <a:pt x="940404" y="839034"/>
                </a:lnTo>
                <a:lnTo>
                  <a:pt x="975298" y="828424"/>
                </a:lnTo>
                <a:lnTo>
                  <a:pt x="1007908" y="810770"/>
                </a:lnTo>
                <a:lnTo>
                  <a:pt x="1037107" y="786091"/>
                </a:lnTo>
                <a:lnTo>
                  <a:pt x="1426032" y="369354"/>
                </a:lnTo>
                <a:lnTo>
                  <a:pt x="2138578" y="369354"/>
                </a:lnTo>
                <a:lnTo>
                  <a:pt x="2138578" y="0"/>
                </a:lnTo>
                <a:close/>
              </a:path>
            </a:pathLst>
          </a:custGeom>
          <a:solidFill>
            <a:srgbClr val="A5468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114"/>
          <p:cNvSpPr/>
          <p:nvPr/>
        </p:nvSpPr>
        <p:spPr>
          <a:xfrm>
            <a:off x="6301778" y="4650918"/>
            <a:ext cx="2693214" cy="1871868"/>
          </a:xfrm>
          <a:custGeom>
            <a:avLst/>
            <a:gdLst/>
            <a:ahLst/>
            <a:cxnLst/>
            <a:rect l="l" t="t" r="r" b="b"/>
            <a:pathLst>
              <a:path w="2614929" h="1715770">
                <a:moveTo>
                  <a:pt x="2614396" y="0"/>
                </a:moveTo>
                <a:lnTo>
                  <a:pt x="2537206" y="0"/>
                </a:lnTo>
                <a:lnTo>
                  <a:pt x="2495521" y="4722"/>
                </a:lnTo>
                <a:lnTo>
                  <a:pt x="2457183" y="18184"/>
                </a:lnTo>
                <a:lnTo>
                  <a:pt x="2423245" y="39331"/>
                </a:lnTo>
                <a:lnTo>
                  <a:pt x="2394762" y="67106"/>
                </a:lnTo>
                <a:lnTo>
                  <a:pt x="1189393" y="1346060"/>
                </a:lnTo>
                <a:lnTo>
                  <a:pt x="0" y="1346060"/>
                </a:lnTo>
                <a:lnTo>
                  <a:pt x="0" y="1715414"/>
                </a:lnTo>
                <a:lnTo>
                  <a:pt x="1267574" y="1715414"/>
                </a:lnTo>
                <a:lnTo>
                  <a:pt x="1267574" y="1714919"/>
                </a:lnTo>
                <a:lnTo>
                  <a:pt x="1303624" y="1711371"/>
                </a:lnTo>
                <a:lnTo>
                  <a:pt x="1338518" y="1700761"/>
                </a:lnTo>
                <a:lnTo>
                  <a:pt x="1371128" y="1683107"/>
                </a:lnTo>
                <a:lnTo>
                  <a:pt x="1400327" y="1658429"/>
                </a:lnTo>
                <a:lnTo>
                  <a:pt x="2614396" y="370408"/>
                </a:lnTo>
                <a:lnTo>
                  <a:pt x="2614396" y="0"/>
                </a:lnTo>
                <a:close/>
              </a:path>
            </a:pathLst>
          </a:custGeom>
          <a:solidFill>
            <a:srgbClr val="C7C4E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111"/>
          <p:cNvSpPr/>
          <p:nvPr/>
        </p:nvSpPr>
        <p:spPr>
          <a:xfrm rot="5400000">
            <a:off x="7767688" y="3865984"/>
            <a:ext cx="2381399" cy="73208"/>
          </a:xfrm>
          <a:custGeom>
            <a:avLst/>
            <a:gdLst/>
            <a:ahLst/>
            <a:cxnLst/>
            <a:rect l="l" t="t" r="r" b="b"/>
            <a:pathLst>
              <a:path w="2614929" h="1011554">
                <a:moveTo>
                  <a:pt x="0" y="1011466"/>
                </a:moveTo>
                <a:lnTo>
                  <a:pt x="2614396" y="1011466"/>
                </a:lnTo>
                <a:lnTo>
                  <a:pt x="2614396" y="0"/>
                </a:lnTo>
                <a:lnTo>
                  <a:pt x="0" y="0"/>
                </a:lnTo>
                <a:lnTo>
                  <a:pt x="0" y="1011466"/>
                </a:lnTo>
                <a:close/>
              </a:path>
            </a:pathLst>
          </a:custGeom>
          <a:solidFill>
            <a:srgbClr val="A5468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118"/>
          <p:cNvSpPr/>
          <p:nvPr/>
        </p:nvSpPr>
        <p:spPr>
          <a:xfrm rot="5400000">
            <a:off x="-1022807" y="3834458"/>
            <a:ext cx="2301219" cy="56078"/>
          </a:xfrm>
          <a:custGeom>
            <a:avLst/>
            <a:gdLst/>
            <a:ahLst/>
            <a:cxnLst/>
            <a:rect l="l" t="t" r="r" b="b"/>
            <a:pathLst>
              <a:path w="2618104" h="1013460">
                <a:moveTo>
                  <a:pt x="0" y="1013002"/>
                </a:moveTo>
                <a:lnTo>
                  <a:pt x="2618028" y="1013040"/>
                </a:lnTo>
                <a:lnTo>
                  <a:pt x="2618041" y="38"/>
                </a:lnTo>
                <a:lnTo>
                  <a:pt x="12" y="0"/>
                </a:lnTo>
                <a:lnTo>
                  <a:pt x="0" y="1013002"/>
                </a:lnTo>
                <a:close/>
              </a:path>
            </a:pathLst>
          </a:custGeom>
          <a:solidFill>
            <a:srgbClr val="0095D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Скругленный прямоугольник 69"/>
          <p:cNvSpPr/>
          <p:nvPr/>
        </p:nvSpPr>
        <p:spPr>
          <a:xfrm>
            <a:off x="2829823" y="1315897"/>
            <a:ext cx="3397232" cy="5160564"/>
          </a:xfrm>
          <a:prstGeom prst="roundRect">
            <a:avLst>
              <a:gd name="adj" fmla="val 6318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Общегосударственные вопросы</a:t>
            </a:r>
          </a:p>
          <a:p>
            <a:pPr algn="ctr"/>
            <a:endParaRPr lang="ru-RU" sz="9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algn="ctr"/>
            <a:endParaRPr lang="ru-RU" sz="9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algn="ctr"/>
            <a:endParaRPr lang="ru-RU" sz="9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ru-RU" sz="9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Национальная безопасность </a:t>
            </a:r>
          </a:p>
          <a:p>
            <a:pPr algn="ctr"/>
            <a:r>
              <a:rPr lang="ru-RU" sz="9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и правоохранительная деятельность</a:t>
            </a:r>
          </a:p>
          <a:p>
            <a:pPr algn="ctr"/>
            <a:endParaRPr lang="ru-RU" sz="9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algn="ctr"/>
            <a:endParaRPr lang="ru-RU" sz="9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algn="ctr"/>
            <a:endParaRPr lang="ru-RU" sz="9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ru-RU" sz="9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Национальная экономика</a:t>
            </a:r>
          </a:p>
          <a:p>
            <a:pPr algn="ctr"/>
            <a:endParaRPr lang="ru-RU" sz="900" b="1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algn="ctr"/>
            <a:endParaRPr lang="ru-RU" sz="9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algn="ctr"/>
            <a:endParaRPr lang="ru-RU" sz="9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ru-RU" sz="9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Жилищно-коммунальное хозяйство</a:t>
            </a:r>
          </a:p>
          <a:p>
            <a:pPr algn="ctr"/>
            <a:endParaRPr lang="ru-RU" sz="9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algn="ctr"/>
            <a:endParaRPr lang="ru-RU" sz="9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algn="ctr"/>
            <a:endParaRPr lang="ru-RU" sz="9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ru-RU" sz="11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Образование</a:t>
            </a:r>
          </a:p>
          <a:p>
            <a:pPr algn="ctr"/>
            <a:endParaRPr lang="ru-RU" sz="9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algn="ctr"/>
            <a:endParaRPr lang="ru-RU" sz="9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algn="ctr"/>
            <a:endParaRPr lang="ru-RU" sz="9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ru-RU" sz="1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Культура, кинематография</a:t>
            </a:r>
          </a:p>
          <a:p>
            <a:pPr algn="ctr"/>
            <a:endParaRPr lang="ru-RU" sz="9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algn="ctr"/>
            <a:endParaRPr lang="ru-RU" sz="9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algn="ctr"/>
            <a:endParaRPr lang="ru-RU" sz="900" dirty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ru-RU" sz="1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Социальная политика</a:t>
            </a:r>
          </a:p>
          <a:p>
            <a:pPr algn="ctr"/>
            <a:endParaRPr lang="ru-RU" sz="9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algn="ctr"/>
            <a:endParaRPr lang="ru-RU" sz="9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algn="ctr"/>
            <a:endParaRPr lang="ru-RU" sz="900" dirty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ru-RU" sz="1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Физическая культура и спорт</a:t>
            </a:r>
          </a:p>
          <a:p>
            <a:pPr algn="ctr"/>
            <a:endParaRPr lang="ru-RU" sz="10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algn="ctr"/>
            <a:endParaRPr lang="ru-RU" sz="9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algn="ctr"/>
            <a:endParaRPr lang="ru-RU" sz="900" dirty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ru-RU" sz="9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Обслуживание муниципального </a:t>
            </a:r>
          </a:p>
          <a:p>
            <a:pPr algn="ctr"/>
            <a:r>
              <a:rPr lang="ru-RU" sz="9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долга</a:t>
            </a:r>
          </a:p>
          <a:p>
            <a:pPr algn="ctr"/>
            <a:endParaRPr lang="ru-RU" sz="9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425796" y="3481219"/>
            <a:ext cx="917977" cy="80547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2020</a:t>
            </a:r>
          </a:p>
          <a:p>
            <a:pPr algn="ctr"/>
            <a:r>
              <a:rPr lang="ru-RU" sz="8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(оценка)</a:t>
            </a:r>
            <a:endParaRPr lang="ru-RU" sz="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73" name="Овал 72"/>
          <p:cNvSpPr/>
          <p:nvPr/>
        </p:nvSpPr>
        <p:spPr>
          <a:xfrm>
            <a:off x="7668345" y="3292970"/>
            <a:ext cx="1180463" cy="1119773"/>
          </a:xfrm>
          <a:prstGeom prst="ellipse">
            <a:avLst/>
          </a:prstGeom>
          <a:solidFill>
            <a:schemeClr val="bg1"/>
          </a:solidFill>
          <a:ln>
            <a:solidFill>
              <a:srgbClr val="AD65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Овал 70"/>
          <p:cNvSpPr/>
          <p:nvPr/>
        </p:nvSpPr>
        <p:spPr>
          <a:xfrm>
            <a:off x="7812360" y="3485042"/>
            <a:ext cx="864096" cy="744340"/>
          </a:xfrm>
          <a:prstGeom prst="ellipse">
            <a:avLst/>
          </a:prstGeom>
          <a:solidFill>
            <a:srgbClr val="AD6580"/>
          </a:solidFill>
          <a:ln>
            <a:solidFill>
              <a:srgbClr val="AD65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2021</a:t>
            </a:r>
            <a:endParaRPr lang="ru-RU" sz="14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ru-RU" sz="7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(проект)</a:t>
            </a:r>
            <a:endParaRPr lang="ru-RU" sz="7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 rot="16200000">
            <a:off x="1426562" y="3711599"/>
            <a:ext cx="16962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latin typeface="Century Gothic" panose="020B0502020202020204" pitchFamily="34" charset="0"/>
              </a:rPr>
              <a:t>3550,2</a:t>
            </a:r>
            <a:endParaRPr lang="ru-RU" sz="2800" b="1" dirty="0">
              <a:latin typeface="Century Gothic" panose="020B0502020202020204" pitchFamily="34" charset="0"/>
            </a:endParaRPr>
          </a:p>
        </p:txBody>
      </p:sp>
      <p:sp>
        <p:nvSpPr>
          <p:cNvPr id="79" name="TextBox 78"/>
          <p:cNvSpPr txBox="1"/>
          <p:nvPr/>
        </p:nvSpPr>
        <p:spPr>
          <a:xfrm rot="16200000">
            <a:off x="5969503" y="3640978"/>
            <a:ext cx="16962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latin typeface="Century Gothic" panose="020B0502020202020204" pitchFamily="34" charset="0"/>
              </a:rPr>
              <a:t>3589,1</a:t>
            </a:r>
            <a:endParaRPr lang="ru-RU" sz="2800" b="1" dirty="0">
              <a:latin typeface="Century Gothic" panose="020B0502020202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615311" y="1353239"/>
            <a:ext cx="5373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AD6580"/>
                </a:solidFill>
                <a:latin typeface="Century Gothic" panose="020B0502020202020204" pitchFamily="34" charset="0"/>
              </a:rPr>
              <a:t>199,3</a:t>
            </a:r>
            <a:endParaRPr lang="ru-RU" sz="1100" b="1" dirty="0">
              <a:solidFill>
                <a:srgbClr val="AD6580"/>
              </a:solidFill>
              <a:latin typeface="Century Gothic" panose="020B0502020202020204" pitchFamily="34" charset="0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5700869" y="1991046"/>
            <a:ext cx="45878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AD6580"/>
                </a:solidFill>
                <a:latin typeface="Century Gothic" panose="020B0502020202020204" pitchFamily="34" charset="0"/>
              </a:rPr>
              <a:t>19,6</a:t>
            </a:r>
            <a:endParaRPr lang="ru-RU" sz="1100" b="1" dirty="0">
              <a:solidFill>
                <a:srgbClr val="AD6580"/>
              </a:solidFill>
              <a:latin typeface="Century Gothic" panose="020B0502020202020204" pitchFamily="34" charset="0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5615312" y="2596866"/>
            <a:ext cx="5373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AD6580"/>
                </a:solidFill>
                <a:latin typeface="Century Gothic" panose="020B0502020202020204" pitchFamily="34" charset="0"/>
              </a:rPr>
              <a:t>784,9</a:t>
            </a:r>
            <a:endParaRPr lang="ru-RU" sz="1100" b="1" dirty="0">
              <a:solidFill>
                <a:srgbClr val="AD6580"/>
              </a:solidFill>
              <a:latin typeface="Century Gothic" panose="020B0502020202020204" pitchFamily="34" charset="0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5630283" y="3142703"/>
            <a:ext cx="5373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AD6580"/>
                </a:solidFill>
                <a:latin typeface="Century Gothic" panose="020B0502020202020204" pitchFamily="34" charset="0"/>
              </a:rPr>
              <a:t>185,5</a:t>
            </a:r>
            <a:endParaRPr lang="ru-RU" sz="1100" b="1" dirty="0">
              <a:solidFill>
                <a:srgbClr val="AD6580"/>
              </a:solidFill>
              <a:latin typeface="Century Gothic" panose="020B0502020202020204" pitchFamily="34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5551736" y="3695469"/>
            <a:ext cx="6158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rgbClr val="AD6580"/>
                </a:solidFill>
                <a:latin typeface="Century Gothic" panose="020B0502020202020204" pitchFamily="34" charset="0"/>
              </a:rPr>
              <a:t>1447,9</a:t>
            </a:r>
            <a:endParaRPr lang="ru-RU" sz="1100" b="1" dirty="0">
              <a:solidFill>
                <a:srgbClr val="AD6580"/>
              </a:solidFill>
              <a:latin typeface="Century Gothic" panose="020B0502020202020204" pitchFamily="34" charset="0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5669556" y="4205546"/>
            <a:ext cx="45878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 smtClean="0">
                <a:solidFill>
                  <a:srgbClr val="AD6580"/>
                </a:solidFill>
                <a:latin typeface="Century Gothic" panose="020B0502020202020204" pitchFamily="34" charset="0"/>
              </a:rPr>
              <a:t>60,1</a:t>
            </a:r>
            <a:endParaRPr lang="ru-RU" sz="1100" b="1" dirty="0">
              <a:solidFill>
                <a:srgbClr val="AD6580"/>
              </a:solidFill>
              <a:latin typeface="Century Gothic" panose="020B0502020202020204" pitchFamily="34" charset="0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5615311" y="4789224"/>
            <a:ext cx="5373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 smtClean="0">
                <a:solidFill>
                  <a:srgbClr val="AD6580"/>
                </a:solidFill>
                <a:latin typeface="Century Gothic" panose="020B0502020202020204" pitchFamily="34" charset="0"/>
              </a:rPr>
              <a:t>816,5</a:t>
            </a:r>
            <a:endParaRPr lang="ru-RU" sz="1100" b="1" dirty="0">
              <a:solidFill>
                <a:srgbClr val="AD6580"/>
              </a:solidFill>
              <a:latin typeface="Century Gothic" panose="020B0502020202020204" pitchFamily="34" charset="0"/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5654584" y="5342044"/>
            <a:ext cx="45878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 smtClean="0">
                <a:solidFill>
                  <a:srgbClr val="AD6580"/>
                </a:solidFill>
                <a:latin typeface="Century Gothic" panose="020B0502020202020204" pitchFamily="34" charset="0"/>
              </a:rPr>
              <a:t>54,1</a:t>
            </a:r>
            <a:endParaRPr lang="ru-RU" sz="1100" b="1" dirty="0">
              <a:solidFill>
                <a:srgbClr val="AD6580"/>
              </a:solidFill>
              <a:latin typeface="Century Gothic" panose="020B0502020202020204" pitchFamily="34" charset="0"/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5630283" y="5913296"/>
            <a:ext cx="45878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 smtClean="0">
                <a:solidFill>
                  <a:srgbClr val="AD6580"/>
                </a:solidFill>
                <a:latin typeface="Century Gothic" panose="020B0502020202020204" pitchFamily="34" charset="0"/>
              </a:rPr>
              <a:t>21,2</a:t>
            </a:r>
            <a:endParaRPr lang="ru-RU" sz="1100" b="1" dirty="0">
              <a:solidFill>
                <a:srgbClr val="AD6580"/>
              </a:solidFill>
              <a:latin typeface="Century Gothic" panose="020B0502020202020204" pitchFamily="34" charset="0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2887889" y="1355776"/>
            <a:ext cx="53893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212,8</a:t>
            </a:r>
            <a:endParaRPr lang="ru-RU" sz="1100" b="1" dirty="0">
              <a:solidFill>
                <a:schemeClr val="tx2">
                  <a:lumMod val="60000"/>
                  <a:lumOff val="4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2829822" y="2026288"/>
            <a:ext cx="46038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18,9</a:t>
            </a:r>
            <a:endParaRPr lang="ru-RU" sz="1100" b="1" dirty="0">
              <a:solidFill>
                <a:schemeClr val="tx2">
                  <a:lumMod val="60000"/>
                  <a:lumOff val="4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2858948" y="2596866"/>
            <a:ext cx="53893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717,6</a:t>
            </a:r>
            <a:endParaRPr lang="ru-RU" sz="1100" b="1" dirty="0">
              <a:solidFill>
                <a:schemeClr val="tx2">
                  <a:lumMod val="60000"/>
                  <a:lumOff val="4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2811961" y="3157496"/>
            <a:ext cx="53893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292,1</a:t>
            </a:r>
            <a:endParaRPr lang="ru-RU" sz="1100" b="1" dirty="0">
              <a:solidFill>
                <a:schemeClr val="tx2">
                  <a:lumMod val="60000"/>
                  <a:lumOff val="4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2917670" y="3711433"/>
            <a:ext cx="6174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1282,0</a:t>
            </a:r>
            <a:endParaRPr lang="ru-RU" sz="1100" b="1" dirty="0">
              <a:solidFill>
                <a:schemeClr val="tx2">
                  <a:lumMod val="60000"/>
                  <a:lumOff val="4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2882277" y="4251140"/>
            <a:ext cx="46038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60,6</a:t>
            </a:r>
            <a:endParaRPr lang="ru-RU" sz="1100" b="1" dirty="0">
              <a:solidFill>
                <a:schemeClr val="tx2">
                  <a:lumMod val="60000"/>
                  <a:lumOff val="4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2901584" y="4789224"/>
            <a:ext cx="53893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892,1</a:t>
            </a:r>
            <a:endParaRPr lang="ru-RU" sz="1100" b="1" dirty="0">
              <a:solidFill>
                <a:schemeClr val="tx2">
                  <a:lumMod val="60000"/>
                  <a:lumOff val="4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2897536" y="5363800"/>
            <a:ext cx="46038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60,2</a:t>
            </a:r>
            <a:endParaRPr lang="ru-RU" sz="1100" b="1" dirty="0">
              <a:solidFill>
                <a:schemeClr val="tx2">
                  <a:lumMod val="60000"/>
                  <a:lumOff val="4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2898826" y="5913296"/>
            <a:ext cx="46038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13,9</a:t>
            </a:r>
            <a:endParaRPr lang="ru-RU" sz="1100" b="1" dirty="0">
              <a:solidFill>
                <a:schemeClr val="tx2">
                  <a:lumMod val="60000"/>
                  <a:lumOff val="4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10" name="Прямоугольник 109"/>
          <p:cNvSpPr/>
          <p:nvPr>
            <p:custDataLst>
              <p:tags r:id="rId3"/>
            </p:custDataLst>
          </p:nvPr>
        </p:nvSpPr>
        <p:spPr>
          <a:xfrm>
            <a:off x="5530703" y="2295774"/>
            <a:ext cx="558359" cy="22619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+3,7%</a:t>
            </a:r>
            <a:endParaRPr lang="ru-RU" sz="8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11" name="Прямоугольник 110"/>
          <p:cNvSpPr/>
          <p:nvPr>
            <p:custDataLst>
              <p:tags r:id="rId4"/>
            </p:custDataLst>
          </p:nvPr>
        </p:nvSpPr>
        <p:spPr>
          <a:xfrm>
            <a:off x="5519342" y="1637466"/>
            <a:ext cx="569720" cy="22297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-6,3%</a:t>
            </a:r>
            <a:endParaRPr lang="ru-RU" sz="8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12" name="Прямоугольник 111"/>
          <p:cNvSpPr/>
          <p:nvPr>
            <p:custDataLst>
              <p:tags r:id="rId5"/>
            </p:custDataLst>
          </p:nvPr>
        </p:nvSpPr>
        <p:spPr>
          <a:xfrm>
            <a:off x="5530703" y="2879080"/>
            <a:ext cx="558359" cy="22093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+9,4%</a:t>
            </a:r>
            <a:endParaRPr lang="ru-RU" sz="8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13" name="Прямоугольник 112"/>
          <p:cNvSpPr/>
          <p:nvPr>
            <p:custDataLst>
              <p:tags r:id="rId6"/>
            </p:custDataLst>
          </p:nvPr>
        </p:nvSpPr>
        <p:spPr>
          <a:xfrm>
            <a:off x="5517661" y="3413612"/>
            <a:ext cx="571401" cy="23916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-36,5%</a:t>
            </a:r>
            <a:endParaRPr lang="ru-RU" sz="8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14" name="Прямоугольник 113"/>
          <p:cNvSpPr/>
          <p:nvPr>
            <p:custDataLst>
              <p:tags r:id="rId7"/>
            </p:custDataLst>
          </p:nvPr>
        </p:nvSpPr>
        <p:spPr>
          <a:xfrm>
            <a:off x="5524181" y="3952408"/>
            <a:ext cx="558359" cy="22093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+12,9%</a:t>
            </a:r>
            <a:endParaRPr lang="ru-RU" sz="8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15" name="Прямоугольник 114"/>
          <p:cNvSpPr/>
          <p:nvPr>
            <p:custDataLst>
              <p:tags r:id="rId8"/>
            </p:custDataLst>
          </p:nvPr>
        </p:nvSpPr>
        <p:spPr>
          <a:xfrm>
            <a:off x="5517661" y="4472970"/>
            <a:ext cx="571401" cy="23916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-0,8%</a:t>
            </a:r>
            <a:endParaRPr lang="ru-RU" sz="8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16" name="Прямоугольник 115"/>
          <p:cNvSpPr/>
          <p:nvPr>
            <p:custDataLst>
              <p:tags r:id="rId9"/>
            </p:custDataLst>
          </p:nvPr>
        </p:nvSpPr>
        <p:spPr>
          <a:xfrm>
            <a:off x="5511139" y="5022062"/>
            <a:ext cx="571401" cy="23916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-8,5%</a:t>
            </a:r>
            <a:endParaRPr lang="ru-RU" sz="8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17" name="Прямоугольник 116"/>
          <p:cNvSpPr/>
          <p:nvPr>
            <p:custDataLst>
              <p:tags r:id="rId10"/>
            </p:custDataLst>
          </p:nvPr>
        </p:nvSpPr>
        <p:spPr>
          <a:xfrm>
            <a:off x="5505561" y="5590814"/>
            <a:ext cx="571401" cy="23916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-10,1%</a:t>
            </a:r>
            <a:endParaRPr lang="ru-RU" sz="8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18" name="Прямоугольник 117"/>
          <p:cNvSpPr/>
          <p:nvPr>
            <p:custDataLst>
              <p:tags r:id="rId11"/>
            </p:custDataLst>
          </p:nvPr>
        </p:nvSpPr>
        <p:spPr>
          <a:xfrm>
            <a:off x="5522645" y="6155860"/>
            <a:ext cx="558359" cy="22619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+52,5%</a:t>
            </a:r>
            <a:endParaRPr lang="ru-RU" sz="8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1668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Прямоугольник 34"/>
          <p:cNvSpPr/>
          <p:nvPr/>
        </p:nvSpPr>
        <p:spPr>
          <a:xfrm>
            <a:off x="7126188" y="5623148"/>
            <a:ext cx="1728192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200"/>
              </a:lnSpc>
            </a:pPr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18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79838" y="6437296"/>
            <a:ext cx="2133600" cy="365125"/>
          </a:xfrm>
        </p:spPr>
        <p:txBody>
          <a:bodyPr/>
          <a:lstStyle/>
          <a:p>
            <a:pPr>
              <a:defRPr/>
            </a:pPr>
            <a:fld id="{3FAEF75E-59B5-46F9-AED9-8B3BB81C06F4}" type="slidenum">
              <a:rPr lang="ru-RU">
                <a:ln>
                  <a:solidFill>
                    <a:schemeClr val="accent6">
                      <a:lumMod val="75000"/>
                    </a:schemeClr>
                  </a:solidFill>
                </a:ln>
                <a:latin typeface="+mn-lt"/>
              </a:rPr>
              <a:pPr>
                <a:defRPr/>
              </a:pPr>
              <a:t>7</a:t>
            </a:fld>
            <a:endParaRPr lang="ru-RU" dirty="0">
              <a:ln>
                <a:solidFill>
                  <a:schemeClr val="accent6">
                    <a:lumMod val="75000"/>
                  </a:schemeClr>
                </a:solidFill>
              </a:ln>
              <a:latin typeface="+mn-lt"/>
            </a:endParaRPr>
          </a:p>
        </p:txBody>
      </p:sp>
      <p:sp>
        <p:nvSpPr>
          <p:cNvPr id="28" name="Text Box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-38359" y="374103"/>
            <a:ext cx="9168730" cy="437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fontAlgn="auto" hangingPunct="0">
              <a:lnSpc>
                <a:spcPct val="80000"/>
              </a:lnSpc>
              <a:spcAft>
                <a:spcPts val="0"/>
              </a:spcAft>
              <a:defRPr/>
            </a:pPr>
            <a:r>
              <a:rPr lang="ru-RU" altLang="ru-RU" sz="2800" dirty="0" smtClean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cs typeface="Times New Roman" pitchFamily="18" charset="0"/>
              </a:rPr>
              <a:t>Национальные проекты в 2021 году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203294" y="789070"/>
            <a:ext cx="1686689" cy="369310"/>
          </a:xfrm>
          <a:prstGeom prst="rect">
            <a:avLst/>
          </a:prstGeom>
          <a:noFill/>
        </p:spPr>
        <p:txBody>
          <a:bodyPr wrap="square" lIns="91420" tIns="45709" rIns="91420" bIns="45709">
            <a:spAutoFit/>
          </a:bodyPr>
          <a:lstStyle/>
          <a:p>
            <a:pPr algn="r">
              <a:defRPr/>
            </a:pPr>
            <a:r>
              <a:rPr lang="ru-RU" i="1" dirty="0" smtClean="0">
                <a:ln>
                  <a:solidFill>
                    <a:schemeClr val="tx1"/>
                  </a:solidFill>
                </a:ln>
                <a:ea typeface="Tahoma" pitchFamily="34" charset="0"/>
                <a:cs typeface="Tahoma" pitchFamily="34" charset="0"/>
              </a:rPr>
              <a:t>тыс. рублей</a:t>
            </a:r>
            <a:endParaRPr lang="ru-RU" i="1" dirty="0">
              <a:ln>
                <a:solidFill>
                  <a:schemeClr val="tx1"/>
                </a:solidFill>
              </a:ln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3816128" y="5294441"/>
            <a:ext cx="551192" cy="6767"/>
          </a:xfrm>
          <a:prstGeom prst="line">
            <a:avLst/>
          </a:prstGeom>
          <a:ln w="82550" cap="rnd">
            <a:solidFill>
              <a:srgbClr val="EEBB2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 flipV="1">
            <a:off x="3995936" y="3689110"/>
            <a:ext cx="351995" cy="2"/>
          </a:xfrm>
          <a:prstGeom prst="line">
            <a:avLst/>
          </a:prstGeom>
          <a:ln w="82550" cap="rnd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5658316"/>
              </p:ext>
            </p:extLst>
          </p:nvPr>
        </p:nvGraphicFramePr>
        <p:xfrm>
          <a:off x="3369987" y="1916832"/>
          <a:ext cx="5519994" cy="43611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30399"/>
                <a:gridCol w="2566499"/>
                <a:gridCol w="1223096"/>
              </a:tblGrid>
              <a:tr h="1008112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Человеческий капитал</a:t>
                      </a:r>
                      <a:endParaRPr lang="ru-RU" sz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400" b="1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  <a:p>
                      <a:pPr algn="l"/>
                      <a:endParaRPr lang="ru-RU" sz="1400" b="1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  <a:p>
                      <a:pPr algn="l"/>
                      <a:r>
                        <a:rPr lang="ru-RU" sz="1400" b="1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«Демография»</a:t>
                      </a:r>
                    </a:p>
                    <a:p>
                      <a:pPr algn="l"/>
                      <a:endParaRPr lang="ru-RU" sz="1400" b="1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  <a:p>
                      <a:pPr algn="l"/>
                      <a:endParaRPr lang="ru-RU" sz="1400" b="1" dirty="0">
                        <a:ln>
                          <a:noFill/>
                        </a:ln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b="1" dirty="0" smtClean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  <a:p>
                      <a:pPr algn="ctr"/>
                      <a:endParaRPr lang="ru-RU" sz="1400" b="1" dirty="0" smtClean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334474,19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024216">
                <a:tc rowSpan="2"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Century Gothic" panose="020B0502020202020204" pitchFamily="34" charset="0"/>
                        </a:rPr>
                        <a:t>Комфортная среда для жизни</a:t>
                      </a:r>
                      <a:endParaRPr lang="ru-RU" sz="1200" b="1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«Безопасные и качественные автомобильные дороги»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b="1" dirty="0" smtClean="0">
                        <a:latin typeface="Century Gothic" panose="020B0502020202020204" pitchFamily="34" charset="0"/>
                      </a:endParaRPr>
                    </a:p>
                    <a:p>
                      <a:pPr algn="ctr"/>
                      <a:r>
                        <a:rPr lang="ru-RU" sz="1400" b="1" dirty="0" smtClean="0">
                          <a:latin typeface="Century Gothic" panose="020B0502020202020204" pitchFamily="34" charset="0"/>
                        </a:rPr>
                        <a:t>301893,34</a:t>
                      </a:r>
                      <a:endParaRPr lang="ru-RU" sz="1400" b="1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767348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Century Gothic" panose="020B0502020202020204" pitchFamily="34" charset="0"/>
                        </a:rPr>
                        <a:t>«Жилье и городская среда»</a:t>
                      </a:r>
                      <a:endParaRPr lang="ru-RU" sz="1400" b="1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Century Gothic" panose="020B0502020202020204" pitchFamily="34" charset="0"/>
                        </a:rPr>
                        <a:t>66000,00</a:t>
                      </a:r>
                      <a:endParaRPr lang="ru-RU" sz="1400" b="1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1411376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Century Gothic" panose="020B0502020202020204" pitchFamily="34" charset="0"/>
                        </a:rPr>
                        <a:t>Экономический</a:t>
                      </a:r>
                      <a:r>
                        <a:rPr lang="ru-RU" sz="1200" b="1" baseline="0" dirty="0" smtClean="0">
                          <a:latin typeface="Century Gothic" panose="020B0502020202020204" pitchFamily="34" charset="0"/>
                        </a:rPr>
                        <a:t> рост</a:t>
                      </a:r>
                      <a:endParaRPr lang="ru-RU" sz="1200" b="1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6E6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Century Gothic" panose="020B0502020202020204" pitchFamily="34" charset="0"/>
                        </a:rPr>
                        <a:t>«Малое и среднее предпринимательство и поддержка индивидуальной предпринимательской инициативы»</a:t>
                      </a:r>
                      <a:endParaRPr lang="ru-RU" sz="1400" b="1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b="1" dirty="0" smtClean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  <a:p>
                      <a:pPr algn="ctr"/>
                      <a:endParaRPr lang="ru-RU" sz="1400" b="1" dirty="0" smtClean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9579,58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D6E6"/>
                    </a:solidFill>
                  </a:tcPr>
                </a:tc>
              </a:tr>
            </a:tbl>
          </a:graphicData>
        </a:graphic>
      </p:graphicFrame>
      <p:sp>
        <p:nvSpPr>
          <p:cNvPr id="46" name="Скругленный прямоугольник 45"/>
          <p:cNvSpPr/>
          <p:nvPr/>
        </p:nvSpPr>
        <p:spPr>
          <a:xfrm>
            <a:off x="3635896" y="2464889"/>
            <a:ext cx="1296000" cy="360000"/>
          </a:xfrm>
          <a:prstGeom prst="roundRect">
            <a:avLst>
              <a:gd name="adj" fmla="val 50000"/>
            </a:avLst>
          </a:prstGeom>
          <a:solidFill>
            <a:srgbClr val="0070C0"/>
          </a:solidFill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334474,19</a:t>
            </a:r>
            <a:endParaRPr lang="ru-RU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3533067" y="3783030"/>
            <a:ext cx="1296000" cy="360000"/>
          </a:xfrm>
          <a:prstGeom prst="roundRect">
            <a:avLst>
              <a:gd name="adj" fmla="val 50000"/>
            </a:avLst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367893,34</a:t>
            </a:r>
            <a:endParaRPr lang="ru-RU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3589575" y="5483228"/>
            <a:ext cx="1296000" cy="360000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solidFill>
              <a:srgbClr val="7030A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9579,58</a:t>
            </a:r>
            <a:endParaRPr lang="ru-RU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8022397" y="1396377"/>
            <a:ext cx="81624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latin typeface="Century Gothic" panose="020B0502020202020204" pitchFamily="34" charset="0"/>
              </a:rPr>
              <a:t>2021 год </a:t>
            </a:r>
          </a:p>
          <a:p>
            <a:r>
              <a:rPr lang="ru-RU" sz="1100" b="1" dirty="0" smtClean="0">
                <a:latin typeface="Century Gothic" panose="020B0502020202020204" pitchFamily="34" charset="0"/>
              </a:rPr>
              <a:t>(проект)</a:t>
            </a:r>
            <a:endParaRPr lang="ru-RU" sz="1100" b="1" dirty="0">
              <a:latin typeface="Century Gothic" panose="020B0502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546840" y="1362619"/>
            <a:ext cx="332494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latin typeface="Century Gothic" panose="020B0502020202020204" pitchFamily="34" charset="0"/>
              </a:rPr>
              <a:t>Национальные проекты</a:t>
            </a:r>
            <a:endParaRPr lang="ru-RU" sz="2000" b="1" dirty="0">
              <a:latin typeface="Century Gothic" panose="020B0502020202020204" pitchFamily="34" charset="0"/>
            </a:endParaRPr>
          </a:p>
        </p:txBody>
      </p:sp>
      <p:graphicFrame>
        <p:nvGraphicFramePr>
          <p:cNvPr id="10" name="Диаграмма 9"/>
          <p:cNvGraphicFramePr/>
          <p:nvPr>
            <p:extLst>
              <p:ext uri="{D42A27DB-BD31-4B8C-83A1-F6EECF244321}">
                <p14:modId xmlns:p14="http://schemas.microsoft.com/office/powerpoint/2010/main" val="2029841878"/>
              </p:ext>
            </p:extLst>
          </p:nvPr>
        </p:nvGraphicFramePr>
        <p:xfrm>
          <a:off x="395234" y="1772285"/>
          <a:ext cx="6048672" cy="4897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1177280" y="3523559"/>
            <a:ext cx="141096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latin typeface="Century Gothic" panose="020B0502020202020204" pitchFamily="34" charset="0"/>
              </a:rPr>
              <a:t>711947,11</a:t>
            </a:r>
            <a:endParaRPr lang="ru-RU" sz="2000" b="1" dirty="0">
              <a:latin typeface="Century Gothic" panose="020B0502020202020204" pitchFamily="34" charset="0"/>
            </a:endParaRPr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 flipH="1" flipV="1">
            <a:off x="1228556" y="1562674"/>
            <a:ext cx="872509" cy="8515"/>
          </a:xfrm>
          <a:prstGeom prst="line">
            <a:avLst/>
          </a:prstGeom>
          <a:ln w="82550" cap="rnd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/>
          <p:nvPr/>
        </p:nvCxnSpPr>
        <p:spPr>
          <a:xfrm flipV="1">
            <a:off x="2101065" y="1577531"/>
            <a:ext cx="3482" cy="298191"/>
          </a:xfrm>
          <a:prstGeom prst="line">
            <a:avLst/>
          </a:prstGeom>
          <a:ln w="82550" cap="rnd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Скругленный прямоугольник 58"/>
          <p:cNvSpPr/>
          <p:nvPr>
            <p:custDataLst>
              <p:tags r:id="rId2"/>
            </p:custDataLst>
          </p:nvPr>
        </p:nvSpPr>
        <p:spPr>
          <a:xfrm>
            <a:off x="122595" y="1324205"/>
            <a:ext cx="1105960" cy="493969"/>
          </a:xfrm>
          <a:prstGeom prst="roundRect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5400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16614,08</a:t>
            </a:r>
            <a:endParaRPr lang="ru-RU" sz="1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335705" y="1408893"/>
            <a:ext cx="1414170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latin typeface="Century Gothic" panose="020B0502020202020204" pitchFamily="34" charset="0"/>
              </a:rPr>
              <a:t>Средства </a:t>
            </a:r>
          </a:p>
          <a:p>
            <a:r>
              <a:rPr lang="ru-RU" sz="1100" b="1" dirty="0" smtClean="0">
                <a:latin typeface="Century Gothic" panose="020B0502020202020204" pitchFamily="34" charset="0"/>
              </a:rPr>
              <a:t>бюджета города</a:t>
            </a:r>
            <a:endParaRPr lang="ru-RU" sz="1100" b="1" dirty="0">
              <a:latin typeface="Century Gothic" panose="020B0502020202020204" pitchFamily="34" charset="0"/>
            </a:endParaRPr>
          </a:p>
        </p:txBody>
      </p:sp>
      <p:cxnSp>
        <p:nvCxnSpPr>
          <p:cNvPr id="66" name="Прямая соединительная линия 65"/>
          <p:cNvCxnSpPr/>
          <p:nvPr/>
        </p:nvCxnSpPr>
        <p:spPr>
          <a:xfrm flipV="1">
            <a:off x="1178971" y="4869182"/>
            <a:ext cx="0" cy="1558523"/>
          </a:xfrm>
          <a:prstGeom prst="line">
            <a:avLst/>
          </a:prstGeom>
          <a:ln w="82550" cap="rnd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1371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Объект 3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065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Прямоугольник 62"/>
          <p:cNvSpPr/>
          <p:nvPr>
            <p:custDataLst>
              <p:tags r:id="rId3"/>
            </p:custDataLst>
          </p:nvPr>
        </p:nvSpPr>
        <p:spPr>
          <a:xfrm>
            <a:off x="6609673" y="4137327"/>
            <a:ext cx="1754070" cy="754694"/>
          </a:xfrm>
          <a:prstGeom prst="rect">
            <a:avLst/>
          </a:prstGeom>
          <a:noFill/>
          <a:ln>
            <a:noFill/>
          </a:ln>
          <a:scene3d>
            <a:camera prst="isometricOffAxis1Right">
              <a:rot lat="600000" lon="20039998" rev="0"/>
            </a:camera>
            <a:lightRig rig="threePt" dir="t"/>
          </a:scene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6" name="Прямоугольник 65"/>
          <p:cNvSpPr/>
          <p:nvPr>
            <p:custDataLst>
              <p:tags r:id="rId4"/>
            </p:custDataLst>
          </p:nvPr>
        </p:nvSpPr>
        <p:spPr>
          <a:xfrm>
            <a:off x="5528647" y="4288266"/>
            <a:ext cx="1754070" cy="754694"/>
          </a:xfrm>
          <a:prstGeom prst="rect">
            <a:avLst/>
          </a:prstGeom>
          <a:noFill/>
          <a:ln>
            <a:noFill/>
          </a:ln>
          <a:scene3d>
            <a:camera prst="isometricOffAxis1Right">
              <a:rot lat="597694" lon="20344603" rev="52827"/>
            </a:camera>
            <a:lightRig rig="threePt" dir="t"/>
          </a:scene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Номер слайда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F01F4732-32EE-4C7F-AC1F-76C1CDFF52B7}" type="slidenum">
              <a:rPr lang="ru-RU">
                <a:ln>
                  <a:solidFill>
                    <a:schemeClr val="accent6">
                      <a:lumMod val="75000"/>
                    </a:schemeClr>
                  </a:solidFill>
                </a:ln>
                <a:latin typeface="+mn-lt"/>
              </a:rPr>
              <a:pPr>
                <a:defRPr/>
              </a:pPr>
              <a:t>8</a:t>
            </a:fld>
            <a:endParaRPr lang="ru-RU" dirty="0">
              <a:ln>
                <a:solidFill>
                  <a:schemeClr val="accent6">
                    <a:lumMod val="75000"/>
                  </a:schemeClr>
                </a:solidFill>
              </a:ln>
              <a:latin typeface="+mn-lt"/>
            </a:endParaRPr>
          </a:p>
        </p:txBody>
      </p:sp>
      <p:sp>
        <p:nvSpPr>
          <p:cNvPr id="10" name="Заголовок 9"/>
          <p:cNvSpPr>
            <a:spLocks noGrp="1"/>
          </p:cNvSpPr>
          <p:nvPr>
            <p:ph type="title" idx="4294967295"/>
            <p:custDataLst>
              <p:tags r:id="rId5"/>
            </p:custDataLst>
          </p:nvPr>
        </p:nvSpPr>
        <p:spPr>
          <a:xfrm>
            <a:off x="0" y="306388"/>
            <a:ext cx="9144000" cy="530225"/>
          </a:xfrm>
        </p:spPr>
        <p:txBody>
          <a:bodyPr>
            <a:noAutofit/>
          </a:bodyPr>
          <a:lstStyle/>
          <a:p>
            <a:r>
              <a:rPr lang="ru-RU" altLang="ru-RU" sz="2800" dirty="0" smtClean="0">
                <a:ln w="3175" cmpd="sng">
                  <a:solidFill>
                    <a:schemeClr val="tx1"/>
                  </a:solidFill>
                  <a:prstDash val="solid"/>
                </a:ln>
                <a:latin typeface="Century Gothic" panose="020B0502020202020204" pitchFamily="34" charset="0"/>
                <a:ea typeface="+mn-ea"/>
                <a:cs typeface="Times New Roman" pitchFamily="18" charset="0"/>
              </a:rPr>
              <a:t>Губернаторская программа поддержки  местных  инициатив</a:t>
            </a:r>
            <a:endParaRPr lang="ru-RU" altLang="ru-RU" sz="2800" dirty="0">
              <a:ln w="3175" cmpd="sng">
                <a:solidFill>
                  <a:schemeClr val="tx1"/>
                </a:solidFill>
                <a:prstDash val="solid"/>
              </a:ln>
              <a:latin typeface="Century Gothic" panose="020B0502020202020204" pitchFamily="34" charset="0"/>
              <a:ea typeface="+mn-ea"/>
              <a:cs typeface="Times New Roman" pitchFamily="18" charset="0"/>
            </a:endParaRPr>
          </a:p>
        </p:txBody>
      </p:sp>
      <p:sp>
        <p:nvSpPr>
          <p:cNvPr id="68" name="Прямоугольник 67"/>
          <p:cNvSpPr/>
          <p:nvPr>
            <p:custDataLst>
              <p:tags r:id="rId6"/>
            </p:custDataLst>
          </p:nvPr>
        </p:nvSpPr>
        <p:spPr>
          <a:xfrm>
            <a:off x="4377432" y="4398807"/>
            <a:ext cx="1754070" cy="754694"/>
          </a:xfrm>
          <a:prstGeom prst="rect">
            <a:avLst/>
          </a:prstGeom>
          <a:noFill/>
          <a:ln>
            <a:noFill/>
          </a:ln>
          <a:scene3d>
            <a:camera prst="isometricOffAxis1Right">
              <a:rot lat="280758" lon="20940717" rev="129048"/>
            </a:camera>
            <a:lightRig rig="threePt" dir="t"/>
          </a:scene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31" name="Рисунок 30" descr="Безымянный.png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5" cstate="print"/>
          <a:stretch>
            <a:fillRect/>
          </a:stretch>
        </p:blipFill>
        <p:spPr>
          <a:xfrm>
            <a:off x="133534" y="888916"/>
            <a:ext cx="1637116" cy="1451864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1169335" y="5701881"/>
            <a:ext cx="20451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Средства бюджета города, млн. рублей</a:t>
            </a:r>
            <a:endParaRPr lang="ru-RU" sz="16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3916454" y="5793363"/>
            <a:ext cx="2365264" cy="5027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600"/>
              </a:lnSpc>
            </a:pPr>
            <a:r>
              <a:rPr lang="ru-RU" sz="1600" b="1" dirty="0" smtClean="0"/>
              <a:t>Средства физ. и юр. лиц, млн. рублей</a:t>
            </a:r>
            <a:endParaRPr lang="ru-RU" sz="1600" b="1" dirty="0"/>
          </a:p>
        </p:txBody>
      </p:sp>
      <p:sp>
        <p:nvSpPr>
          <p:cNvPr id="39" name="Овал 38"/>
          <p:cNvSpPr/>
          <p:nvPr/>
        </p:nvSpPr>
        <p:spPr bwMode="auto">
          <a:xfrm>
            <a:off x="3275682" y="5814227"/>
            <a:ext cx="360080" cy="360082"/>
          </a:xfrm>
          <a:prstGeom prst="ellipse">
            <a:avLst/>
          </a:prstGeom>
          <a:solidFill>
            <a:srgbClr val="FFFF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b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0" name="Овал 39"/>
          <p:cNvSpPr/>
          <p:nvPr/>
        </p:nvSpPr>
        <p:spPr bwMode="auto">
          <a:xfrm>
            <a:off x="667786" y="5782488"/>
            <a:ext cx="360040" cy="360080"/>
          </a:xfrm>
          <a:prstGeom prst="ellipse">
            <a:avLst/>
          </a:prstGeom>
          <a:solidFill>
            <a:srgbClr val="3F81D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b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969879" y="4858294"/>
            <a:ext cx="10905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201</a:t>
            </a:r>
            <a:r>
              <a:rPr lang="ru-RU" b="1" dirty="0" smtClean="0"/>
              <a:t>9 год</a:t>
            </a:r>
            <a:r>
              <a:rPr lang="en-US" b="1" dirty="0" smtClean="0"/>
              <a:t> </a:t>
            </a:r>
            <a:endParaRPr lang="ru-RU" b="1" dirty="0"/>
          </a:p>
        </p:txBody>
      </p:sp>
      <p:sp>
        <p:nvSpPr>
          <p:cNvPr id="9" name="TextBox 8"/>
          <p:cNvSpPr txBox="1"/>
          <p:nvPr/>
        </p:nvSpPr>
        <p:spPr>
          <a:xfrm>
            <a:off x="4293397" y="4858294"/>
            <a:ext cx="10376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/>
              <a:t>2020 год</a:t>
            </a:r>
            <a:endParaRPr lang="ru-RU" b="1" dirty="0"/>
          </a:p>
        </p:txBody>
      </p:sp>
      <p:sp>
        <p:nvSpPr>
          <p:cNvPr id="42" name="Овал 41"/>
          <p:cNvSpPr/>
          <p:nvPr/>
        </p:nvSpPr>
        <p:spPr bwMode="auto">
          <a:xfrm>
            <a:off x="6249593" y="5851527"/>
            <a:ext cx="360080" cy="360082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b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6740398" y="5814227"/>
            <a:ext cx="2365264" cy="5027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600"/>
              </a:lnSpc>
            </a:pPr>
            <a:r>
              <a:rPr lang="ru-RU" sz="1600" b="1" dirty="0" smtClean="0"/>
              <a:t>Субсидия из краевого бюджета, млн. рублей</a:t>
            </a:r>
            <a:endParaRPr lang="ru-RU" sz="1600" b="1" dirty="0"/>
          </a:p>
        </p:txBody>
      </p:sp>
      <p:graphicFrame>
        <p:nvGraphicFramePr>
          <p:cNvPr id="45" name="Диаграмма 44"/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652830372"/>
              </p:ext>
            </p:extLst>
          </p:nvPr>
        </p:nvGraphicFramePr>
        <p:xfrm>
          <a:off x="579466" y="2489866"/>
          <a:ext cx="3547886" cy="31333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46" name="Прямоугольник 45"/>
          <p:cNvSpPr>
            <a:spLocks noChangeArrowheads="1"/>
          </p:cNvSpPr>
          <p:nvPr/>
        </p:nvSpPr>
        <p:spPr bwMode="auto">
          <a:xfrm>
            <a:off x="2627784" y="1312083"/>
            <a:ext cx="4464496" cy="2975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600"/>
              </a:lnSpc>
            </a:pPr>
            <a:r>
              <a:rPr lang="ru-RU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Участие в конкурсном отборе 2021 года</a:t>
            </a:r>
          </a:p>
        </p:txBody>
      </p:sp>
      <p:grpSp>
        <p:nvGrpSpPr>
          <p:cNvPr id="48" name="Группа 47"/>
          <p:cNvGrpSpPr/>
          <p:nvPr/>
        </p:nvGrpSpPr>
        <p:grpSpPr>
          <a:xfrm>
            <a:off x="5884634" y="1827952"/>
            <a:ext cx="963769" cy="795796"/>
            <a:chOff x="2326599" y="1787934"/>
            <a:chExt cx="1080120" cy="1027836"/>
          </a:xfrm>
        </p:grpSpPr>
        <p:pic>
          <p:nvPicPr>
            <p:cNvPr id="49" name="Picture 2" descr="Картинки по запросу winner icon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2326599" y="2290899"/>
              <a:ext cx="504056" cy="52378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50" name="Picture 2" descr="Картинки по запросу winner icon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2902663" y="2291990"/>
              <a:ext cx="504056" cy="52378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51" name="Picture 2" descr="Картинки по запросу winner icon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2614631" y="1787934"/>
              <a:ext cx="504056" cy="52378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aphicFrame>
        <p:nvGraphicFramePr>
          <p:cNvPr id="27" name="Диаграмма 26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016276527"/>
              </p:ext>
            </p:extLst>
          </p:nvPr>
        </p:nvGraphicFramePr>
        <p:xfrm>
          <a:off x="3243513" y="2448978"/>
          <a:ext cx="3395477" cy="31588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28" name="TextBox 27"/>
          <p:cNvSpPr txBox="1"/>
          <p:nvPr/>
        </p:nvSpPr>
        <p:spPr>
          <a:xfrm>
            <a:off x="7271377" y="4831947"/>
            <a:ext cx="10376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/>
              <a:t>2021 год</a:t>
            </a:r>
            <a:endParaRPr lang="ru-RU" b="1" dirty="0"/>
          </a:p>
        </p:txBody>
      </p:sp>
      <p:grpSp>
        <p:nvGrpSpPr>
          <p:cNvPr id="29" name="Группа 28"/>
          <p:cNvGrpSpPr/>
          <p:nvPr/>
        </p:nvGrpSpPr>
        <p:grpSpPr>
          <a:xfrm>
            <a:off x="2711933" y="1838536"/>
            <a:ext cx="963769" cy="795796"/>
            <a:chOff x="2326599" y="1787934"/>
            <a:chExt cx="1080120" cy="1027836"/>
          </a:xfrm>
        </p:grpSpPr>
        <p:pic>
          <p:nvPicPr>
            <p:cNvPr id="30" name="Picture 2" descr="Картинки по запросу winner icon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2326599" y="2290899"/>
              <a:ext cx="504056" cy="52378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2" name="Picture 2" descr="Картинки по запросу winner icon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2902663" y="2291990"/>
              <a:ext cx="504056" cy="52378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3" name="Picture 2" descr="Картинки по запросу winner icon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2614631" y="1787934"/>
              <a:ext cx="504056" cy="52378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aphicFrame>
        <p:nvGraphicFramePr>
          <p:cNvPr id="35" name="Диаграмма 34"/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045853764"/>
              </p:ext>
            </p:extLst>
          </p:nvPr>
        </p:nvGraphicFramePr>
        <p:xfrm>
          <a:off x="6125492" y="2448978"/>
          <a:ext cx="3395477" cy="31588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</p:spTree>
    <p:extLst>
      <p:ext uri="{BB962C8B-B14F-4D97-AF65-F5344CB8AC3E}">
        <p14:creationId xmlns:p14="http://schemas.microsoft.com/office/powerpoint/2010/main" val="4153906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Объект 3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230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Прямоугольник 62"/>
          <p:cNvSpPr/>
          <p:nvPr>
            <p:custDataLst>
              <p:tags r:id="rId3"/>
            </p:custDataLst>
          </p:nvPr>
        </p:nvSpPr>
        <p:spPr>
          <a:xfrm>
            <a:off x="6609673" y="4137327"/>
            <a:ext cx="1754070" cy="754694"/>
          </a:xfrm>
          <a:prstGeom prst="rect">
            <a:avLst/>
          </a:prstGeom>
          <a:noFill/>
          <a:ln>
            <a:noFill/>
          </a:ln>
          <a:scene3d>
            <a:camera prst="isometricOffAxis1Right">
              <a:rot lat="600000" lon="20039998" rev="0"/>
            </a:camera>
            <a:lightRig rig="threePt" dir="t"/>
          </a:scene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6" name="Прямоугольник 65"/>
          <p:cNvSpPr/>
          <p:nvPr>
            <p:custDataLst>
              <p:tags r:id="rId4"/>
            </p:custDataLst>
          </p:nvPr>
        </p:nvSpPr>
        <p:spPr>
          <a:xfrm>
            <a:off x="5528647" y="4288266"/>
            <a:ext cx="1754070" cy="754694"/>
          </a:xfrm>
          <a:prstGeom prst="rect">
            <a:avLst/>
          </a:prstGeom>
          <a:noFill/>
          <a:ln>
            <a:noFill/>
          </a:ln>
          <a:scene3d>
            <a:camera prst="isometricOffAxis1Right">
              <a:rot lat="597694" lon="20344603" rev="52827"/>
            </a:camera>
            <a:lightRig rig="threePt" dir="t"/>
          </a:scene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Номер слайда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fld id="{F01F4732-32EE-4C7F-AC1F-76C1CDFF52B7}" type="slidenum">
              <a:rPr lang="ru-RU">
                <a:ln>
                  <a:solidFill>
                    <a:schemeClr val="accent6">
                      <a:lumMod val="75000"/>
                    </a:schemeClr>
                  </a:solidFill>
                </a:ln>
                <a:latin typeface="+mn-lt"/>
              </a:rPr>
              <a:pPr>
                <a:defRPr/>
              </a:pPr>
              <a:t>9</a:t>
            </a:fld>
            <a:endParaRPr lang="ru-RU" dirty="0">
              <a:ln>
                <a:solidFill>
                  <a:schemeClr val="accent6">
                    <a:lumMod val="75000"/>
                  </a:schemeClr>
                </a:solidFill>
              </a:ln>
              <a:latin typeface="+mn-lt"/>
            </a:endParaRPr>
          </a:p>
        </p:txBody>
      </p:sp>
      <p:sp>
        <p:nvSpPr>
          <p:cNvPr id="10" name="Заголовок 9"/>
          <p:cNvSpPr>
            <a:spLocks noGrp="1"/>
          </p:cNvSpPr>
          <p:nvPr>
            <p:ph type="title" idx="4294967295"/>
            <p:custDataLst>
              <p:tags r:id="rId5"/>
            </p:custDataLst>
          </p:nvPr>
        </p:nvSpPr>
        <p:spPr>
          <a:xfrm>
            <a:off x="0" y="404664"/>
            <a:ext cx="9144000" cy="530225"/>
          </a:xfrm>
        </p:spPr>
        <p:txBody>
          <a:bodyPr>
            <a:noAutofit/>
          </a:bodyPr>
          <a:lstStyle/>
          <a:p>
            <a:r>
              <a:rPr lang="ru-RU" sz="2400" b="1" dirty="0">
                <a:latin typeface="Century Gothic" panose="020B0502020202020204" pitchFamily="34" charset="0"/>
              </a:rPr>
              <a:t>Программная структура расходов </a:t>
            </a:r>
            <a:r>
              <a:rPr lang="ru-RU" sz="2400" b="1" dirty="0" smtClean="0">
                <a:latin typeface="Century Gothic" panose="020B0502020202020204" pitchFamily="34" charset="0"/>
              </a:rPr>
              <a:t/>
            </a:r>
            <a:br>
              <a:rPr lang="ru-RU" sz="2400" b="1" dirty="0" smtClean="0">
                <a:latin typeface="Century Gothic" panose="020B0502020202020204" pitchFamily="34" charset="0"/>
              </a:rPr>
            </a:br>
            <a:r>
              <a:rPr lang="ru-RU" sz="2400" b="1" dirty="0" smtClean="0">
                <a:latin typeface="Century Gothic" panose="020B0502020202020204" pitchFamily="34" charset="0"/>
              </a:rPr>
              <a:t>бюджета </a:t>
            </a:r>
            <a:r>
              <a:rPr lang="ru-RU" sz="2400" b="1" dirty="0">
                <a:latin typeface="Century Gothic" panose="020B0502020202020204" pitchFamily="34" charset="0"/>
              </a:rPr>
              <a:t>города </a:t>
            </a:r>
            <a:r>
              <a:rPr lang="ru-RU" sz="2400" b="1" dirty="0" smtClean="0">
                <a:latin typeface="Century Gothic" panose="020B0502020202020204" pitchFamily="34" charset="0"/>
              </a:rPr>
              <a:t>на 2021 год</a:t>
            </a:r>
            <a:endParaRPr lang="ru-RU" sz="2400" b="1" dirty="0">
              <a:latin typeface="Century Gothic" panose="020B0502020202020204" pitchFamily="34" charset="0"/>
            </a:endParaRPr>
          </a:p>
        </p:txBody>
      </p:sp>
      <p:sp>
        <p:nvSpPr>
          <p:cNvPr id="68" name="Прямоугольник 67"/>
          <p:cNvSpPr/>
          <p:nvPr>
            <p:custDataLst>
              <p:tags r:id="rId6"/>
            </p:custDataLst>
          </p:nvPr>
        </p:nvSpPr>
        <p:spPr>
          <a:xfrm>
            <a:off x="4377432" y="4398807"/>
            <a:ext cx="1754070" cy="754694"/>
          </a:xfrm>
          <a:prstGeom prst="rect">
            <a:avLst/>
          </a:prstGeom>
          <a:noFill/>
          <a:ln>
            <a:noFill/>
          </a:ln>
          <a:scene3d>
            <a:camera prst="isometricOffAxis1Right">
              <a:rot lat="280758" lon="20940717" rev="129048"/>
            </a:camera>
            <a:lightRig rig="threePt" dir="t"/>
          </a:scene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7" name="Скругленный прямоугольник 36"/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695358" y="2039149"/>
            <a:ext cx="2006058" cy="698345"/>
          </a:xfrm>
          <a:prstGeom prst="roundRect">
            <a:avLst>
              <a:gd name="adj" fmla="val 50000"/>
            </a:avLst>
          </a:prstGeom>
          <a:solidFill>
            <a:schemeClr val="accent1">
              <a:lumMod val="7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1400" b="1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2800" b="1" dirty="0" smtClean="0">
                <a:solidFill>
                  <a:schemeClr val="tx1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3348,7</a:t>
            </a:r>
          </a:p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млн. рублей</a:t>
            </a:r>
          </a:p>
        </p:txBody>
      </p:sp>
      <p:sp>
        <p:nvSpPr>
          <p:cNvPr id="43" name="Скругленный прямоугольник 42"/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2396210" y="1358015"/>
            <a:ext cx="4870957" cy="285361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1400" b="1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b="1" dirty="0" smtClean="0">
                <a:solidFill>
                  <a:schemeClr val="tx1"/>
                </a:solidFill>
                <a:latin typeface="Century Gothic" panose="020B0502020202020204" pitchFamily="34" charset="0"/>
                <a:ea typeface="Tahoma" pitchFamily="34" charset="0"/>
                <a:cs typeface="Tahoma" pitchFamily="34" charset="0"/>
              </a:rPr>
              <a:t>10 муниципальных программ</a:t>
            </a:r>
          </a:p>
        </p:txBody>
      </p:sp>
      <p:grpSp>
        <p:nvGrpSpPr>
          <p:cNvPr id="11" name="Группа 10"/>
          <p:cNvGrpSpPr/>
          <p:nvPr/>
        </p:nvGrpSpPr>
        <p:grpSpPr>
          <a:xfrm>
            <a:off x="2136231" y="1962500"/>
            <a:ext cx="6471680" cy="4695094"/>
            <a:chOff x="3311047" y="2814689"/>
            <a:chExt cx="5259048" cy="1758743"/>
          </a:xfrm>
          <a:solidFill>
            <a:schemeClr val="accent6">
              <a:lumMod val="75000"/>
            </a:schemeClr>
          </a:solidFill>
        </p:grpSpPr>
        <p:sp>
          <p:nvSpPr>
            <p:cNvPr id="12" name="Freeform 5"/>
            <p:cNvSpPr>
              <a:spLocks noEditPoints="1"/>
            </p:cNvSpPr>
            <p:nvPr/>
          </p:nvSpPr>
          <p:spPr bwMode="auto">
            <a:xfrm>
              <a:off x="5802512" y="3799922"/>
              <a:ext cx="1260704" cy="552944"/>
            </a:xfrm>
            <a:custGeom>
              <a:avLst/>
              <a:gdLst>
                <a:gd name="T0" fmla="*/ 320 w 349"/>
                <a:gd name="T1" fmla="*/ 91 h 350"/>
                <a:gd name="T2" fmla="*/ 337 w 349"/>
                <a:gd name="T3" fmla="*/ 115 h 350"/>
                <a:gd name="T4" fmla="*/ 323 w 349"/>
                <a:gd name="T5" fmla="*/ 133 h 350"/>
                <a:gd name="T6" fmla="*/ 318 w 349"/>
                <a:gd name="T7" fmla="*/ 157 h 350"/>
                <a:gd name="T8" fmla="*/ 338 w 349"/>
                <a:gd name="T9" fmla="*/ 177 h 350"/>
                <a:gd name="T10" fmla="*/ 344 w 349"/>
                <a:gd name="T11" fmla="*/ 208 h 350"/>
                <a:gd name="T12" fmla="*/ 322 w 349"/>
                <a:gd name="T13" fmla="*/ 217 h 350"/>
                <a:gd name="T14" fmla="*/ 306 w 349"/>
                <a:gd name="T15" fmla="*/ 236 h 350"/>
                <a:gd name="T16" fmla="*/ 317 w 349"/>
                <a:gd name="T17" fmla="*/ 260 h 350"/>
                <a:gd name="T18" fmla="*/ 307 w 349"/>
                <a:gd name="T19" fmla="*/ 286 h 350"/>
                <a:gd name="T20" fmla="*/ 279 w 349"/>
                <a:gd name="T21" fmla="*/ 283 h 350"/>
                <a:gd name="T22" fmla="*/ 258 w 349"/>
                <a:gd name="T23" fmla="*/ 294 h 350"/>
                <a:gd name="T24" fmla="*/ 256 w 349"/>
                <a:gd name="T25" fmla="*/ 321 h 350"/>
                <a:gd name="T26" fmla="*/ 233 w 349"/>
                <a:gd name="T27" fmla="*/ 337 h 350"/>
                <a:gd name="T28" fmla="*/ 212 w 349"/>
                <a:gd name="T29" fmla="*/ 322 h 350"/>
                <a:gd name="T30" fmla="*/ 187 w 349"/>
                <a:gd name="T31" fmla="*/ 320 h 350"/>
                <a:gd name="T32" fmla="*/ 171 w 349"/>
                <a:gd name="T33" fmla="*/ 343 h 350"/>
                <a:gd name="T34" fmla="*/ 140 w 349"/>
                <a:gd name="T35" fmla="*/ 346 h 350"/>
                <a:gd name="T36" fmla="*/ 133 w 349"/>
                <a:gd name="T37" fmla="*/ 324 h 350"/>
                <a:gd name="T38" fmla="*/ 113 w 349"/>
                <a:gd name="T39" fmla="*/ 308 h 350"/>
                <a:gd name="T40" fmla="*/ 87 w 349"/>
                <a:gd name="T41" fmla="*/ 321 h 350"/>
                <a:gd name="T42" fmla="*/ 61 w 349"/>
                <a:gd name="T43" fmla="*/ 307 h 350"/>
                <a:gd name="T44" fmla="*/ 65 w 349"/>
                <a:gd name="T45" fmla="*/ 283 h 350"/>
                <a:gd name="T46" fmla="*/ 53 w 349"/>
                <a:gd name="T47" fmla="*/ 258 h 350"/>
                <a:gd name="T48" fmla="*/ 28 w 349"/>
                <a:gd name="T49" fmla="*/ 255 h 350"/>
                <a:gd name="T50" fmla="*/ 8 w 349"/>
                <a:gd name="T51" fmla="*/ 233 h 350"/>
                <a:gd name="T52" fmla="*/ 25 w 349"/>
                <a:gd name="T53" fmla="*/ 211 h 350"/>
                <a:gd name="T54" fmla="*/ 28 w 349"/>
                <a:gd name="T55" fmla="*/ 189 h 350"/>
                <a:gd name="T56" fmla="*/ 7 w 349"/>
                <a:gd name="T57" fmla="*/ 170 h 350"/>
                <a:gd name="T58" fmla="*/ 2 w 349"/>
                <a:gd name="T59" fmla="*/ 142 h 350"/>
                <a:gd name="T60" fmla="*/ 28 w 349"/>
                <a:gd name="T61" fmla="*/ 131 h 350"/>
                <a:gd name="T62" fmla="*/ 41 w 349"/>
                <a:gd name="T63" fmla="*/ 113 h 350"/>
                <a:gd name="T64" fmla="*/ 29 w 349"/>
                <a:gd name="T65" fmla="*/ 88 h 350"/>
                <a:gd name="T66" fmla="*/ 39 w 349"/>
                <a:gd name="T67" fmla="*/ 62 h 350"/>
                <a:gd name="T68" fmla="*/ 66 w 349"/>
                <a:gd name="T69" fmla="*/ 65 h 350"/>
                <a:gd name="T70" fmla="*/ 79 w 349"/>
                <a:gd name="T71" fmla="*/ 62 h 350"/>
                <a:gd name="T72" fmla="*/ 97 w 349"/>
                <a:gd name="T73" fmla="*/ 17 h 350"/>
                <a:gd name="T74" fmla="*/ 124 w 349"/>
                <a:gd name="T75" fmla="*/ 13 h 350"/>
                <a:gd name="T76" fmla="*/ 148 w 349"/>
                <a:gd name="T77" fmla="*/ 31 h 350"/>
                <a:gd name="T78" fmla="*/ 172 w 349"/>
                <a:gd name="T79" fmla="*/ 21 h 350"/>
                <a:gd name="T80" fmla="*/ 187 w 349"/>
                <a:gd name="T81" fmla="*/ 0 h 350"/>
                <a:gd name="T82" fmla="*/ 214 w 349"/>
                <a:gd name="T83" fmla="*/ 11 h 350"/>
                <a:gd name="T84" fmla="*/ 225 w 349"/>
                <a:gd name="T85" fmla="*/ 38 h 350"/>
                <a:gd name="T86" fmla="*/ 248 w 349"/>
                <a:gd name="T87" fmla="*/ 40 h 350"/>
                <a:gd name="T88" fmla="*/ 273 w 349"/>
                <a:gd name="T89" fmla="*/ 31 h 350"/>
                <a:gd name="T90" fmla="*/ 288 w 349"/>
                <a:gd name="T91" fmla="*/ 55 h 350"/>
                <a:gd name="T92" fmla="*/ 283 w 349"/>
                <a:gd name="T93" fmla="*/ 76 h 350"/>
                <a:gd name="T94" fmla="*/ 301 w 349"/>
                <a:gd name="T95" fmla="*/ 94 h 350"/>
                <a:gd name="T96" fmla="*/ 62 w 349"/>
                <a:gd name="T97" fmla="*/ 174 h 350"/>
                <a:gd name="T98" fmla="*/ 285 w 349"/>
                <a:gd name="T99" fmla="*/ 174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49" h="350">
                  <a:moveTo>
                    <a:pt x="301" y="94"/>
                  </a:moveTo>
                  <a:cubicBezTo>
                    <a:pt x="308" y="93"/>
                    <a:pt x="314" y="92"/>
                    <a:pt x="320" y="91"/>
                  </a:cubicBezTo>
                  <a:cubicBezTo>
                    <a:pt x="324" y="90"/>
                    <a:pt x="328" y="92"/>
                    <a:pt x="330" y="96"/>
                  </a:cubicBezTo>
                  <a:cubicBezTo>
                    <a:pt x="332" y="102"/>
                    <a:pt x="335" y="109"/>
                    <a:pt x="337" y="115"/>
                  </a:cubicBezTo>
                  <a:cubicBezTo>
                    <a:pt x="339" y="119"/>
                    <a:pt x="337" y="122"/>
                    <a:pt x="335" y="125"/>
                  </a:cubicBezTo>
                  <a:cubicBezTo>
                    <a:pt x="331" y="128"/>
                    <a:pt x="327" y="130"/>
                    <a:pt x="323" y="133"/>
                  </a:cubicBezTo>
                  <a:cubicBezTo>
                    <a:pt x="317" y="138"/>
                    <a:pt x="316" y="141"/>
                    <a:pt x="317" y="149"/>
                  </a:cubicBezTo>
                  <a:cubicBezTo>
                    <a:pt x="318" y="151"/>
                    <a:pt x="318" y="154"/>
                    <a:pt x="318" y="157"/>
                  </a:cubicBezTo>
                  <a:cubicBezTo>
                    <a:pt x="318" y="168"/>
                    <a:pt x="324" y="173"/>
                    <a:pt x="333" y="176"/>
                  </a:cubicBezTo>
                  <a:cubicBezTo>
                    <a:pt x="335" y="176"/>
                    <a:pt x="336" y="177"/>
                    <a:pt x="338" y="177"/>
                  </a:cubicBezTo>
                  <a:cubicBezTo>
                    <a:pt x="349" y="182"/>
                    <a:pt x="347" y="184"/>
                    <a:pt x="346" y="194"/>
                  </a:cubicBezTo>
                  <a:cubicBezTo>
                    <a:pt x="346" y="199"/>
                    <a:pt x="345" y="203"/>
                    <a:pt x="344" y="208"/>
                  </a:cubicBezTo>
                  <a:cubicBezTo>
                    <a:pt x="343" y="212"/>
                    <a:pt x="340" y="215"/>
                    <a:pt x="336" y="215"/>
                  </a:cubicBezTo>
                  <a:cubicBezTo>
                    <a:pt x="331" y="216"/>
                    <a:pt x="327" y="216"/>
                    <a:pt x="322" y="217"/>
                  </a:cubicBezTo>
                  <a:cubicBezTo>
                    <a:pt x="317" y="217"/>
                    <a:pt x="313" y="220"/>
                    <a:pt x="310" y="225"/>
                  </a:cubicBezTo>
                  <a:cubicBezTo>
                    <a:pt x="309" y="229"/>
                    <a:pt x="308" y="232"/>
                    <a:pt x="306" y="236"/>
                  </a:cubicBezTo>
                  <a:cubicBezTo>
                    <a:pt x="304" y="241"/>
                    <a:pt x="305" y="245"/>
                    <a:pt x="308" y="249"/>
                  </a:cubicBezTo>
                  <a:cubicBezTo>
                    <a:pt x="311" y="253"/>
                    <a:pt x="314" y="256"/>
                    <a:pt x="317" y="260"/>
                  </a:cubicBezTo>
                  <a:cubicBezTo>
                    <a:pt x="321" y="265"/>
                    <a:pt x="321" y="269"/>
                    <a:pt x="317" y="274"/>
                  </a:cubicBezTo>
                  <a:cubicBezTo>
                    <a:pt x="313" y="278"/>
                    <a:pt x="310" y="282"/>
                    <a:pt x="307" y="286"/>
                  </a:cubicBezTo>
                  <a:cubicBezTo>
                    <a:pt x="302" y="292"/>
                    <a:pt x="299" y="292"/>
                    <a:pt x="293" y="289"/>
                  </a:cubicBezTo>
                  <a:cubicBezTo>
                    <a:pt x="288" y="287"/>
                    <a:pt x="284" y="285"/>
                    <a:pt x="279" y="283"/>
                  </a:cubicBezTo>
                  <a:cubicBezTo>
                    <a:pt x="275" y="282"/>
                    <a:pt x="271" y="284"/>
                    <a:pt x="268" y="286"/>
                  </a:cubicBezTo>
                  <a:cubicBezTo>
                    <a:pt x="264" y="289"/>
                    <a:pt x="261" y="291"/>
                    <a:pt x="258" y="294"/>
                  </a:cubicBezTo>
                  <a:cubicBezTo>
                    <a:pt x="254" y="297"/>
                    <a:pt x="253" y="301"/>
                    <a:pt x="254" y="306"/>
                  </a:cubicBezTo>
                  <a:cubicBezTo>
                    <a:pt x="255" y="311"/>
                    <a:pt x="255" y="316"/>
                    <a:pt x="256" y="321"/>
                  </a:cubicBezTo>
                  <a:cubicBezTo>
                    <a:pt x="256" y="326"/>
                    <a:pt x="254" y="329"/>
                    <a:pt x="251" y="330"/>
                  </a:cubicBezTo>
                  <a:cubicBezTo>
                    <a:pt x="245" y="333"/>
                    <a:pt x="239" y="335"/>
                    <a:pt x="233" y="337"/>
                  </a:cubicBezTo>
                  <a:cubicBezTo>
                    <a:pt x="227" y="339"/>
                    <a:pt x="224" y="338"/>
                    <a:pt x="220" y="333"/>
                  </a:cubicBezTo>
                  <a:cubicBezTo>
                    <a:pt x="218" y="329"/>
                    <a:pt x="215" y="325"/>
                    <a:pt x="212" y="322"/>
                  </a:cubicBezTo>
                  <a:cubicBezTo>
                    <a:pt x="209" y="318"/>
                    <a:pt x="205" y="317"/>
                    <a:pt x="201" y="318"/>
                  </a:cubicBezTo>
                  <a:cubicBezTo>
                    <a:pt x="196" y="318"/>
                    <a:pt x="192" y="319"/>
                    <a:pt x="187" y="320"/>
                  </a:cubicBezTo>
                  <a:cubicBezTo>
                    <a:pt x="182" y="321"/>
                    <a:pt x="179" y="324"/>
                    <a:pt x="177" y="328"/>
                  </a:cubicBezTo>
                  <a:cubicBezTo>
                    <a:pt x="175" y="333"/>
                    <a:pt x="173" y="338"/>
                    <a:pt x="171" y="343"/>
                  </a:cubicBezTo>
                  <a:cubicBezTo>
                    <a:pt x="169" y="347"/>
                    <a:pt x="167" y="350"/>
                    <a:pt x="162" y="349"/>
                  </a:cubicBezTo>
                  <a:cubicBezTo>
                    <a:pt x="155" y="348"/>
                    <a:pt x="147" y="348"/>
                    <a:pt x="140" y="346"/>
                  </a:cubicBezTo>
                  <a:cubicBezTo>
                    <a:pt x="137" y="345"/>
                    <a:pt x="135" y="341"/>
                    <a:pt x="134" y="338"/>
                  </a:cubicBezTo>
                  <a:cubicBezTo>
                    <a:pt x="133" y="333"/>
                    <a:pt x="133" y="328"/>
                    <a:pt x="133" y="324"/>
                  </a:cubicBezTo>
                  <a:cubicBezTo>
                    <a:pt x="132" y="318"/>
                    <a:pt x="129" y="313"/>
                    <a:pt x="123" y="312"/>
                  </a:cubicBezTo>
                  <a:cubicBezTo>
                    <a:pt x="119" y="310"/>
                    <a:pt x="116" y="309"/>
                    <a:pt x="113" y="308"/>
                  </a:cubicBezTo>
                  <a:cubicBezTo>
                    <a:pt x="108" y="306"/>
                    <a:pt x="104" y="307"/>
                    <a:pt x="101" y="310"/>
                  </a:cubicBezTo>
                  <a:cubicBezTo>
                    <a:pt x="96" y="314"/>
                    <a:pt x="92" y="317"/>
                    <a:pt x="87" y="321"/>
                  </a:cubicBezTo>
                  <a:cubicBezTo>
                    <a:pt x="84" y="323"/>
                    <a:pt x="81" y="323"/>
                    <a:pt x="78" y="320"/>
                  </a:cubicBezTo>
                  <a:cubicBezTo>
                    <a:pt x="72" y="316"/>
                    <a:pt x="66" y="312"/>
                    <a:pt x="61" y="307"/>
                  </a:cubicBezTo>
                  <a:cubicBezTo>
                    <a:pt x="57" y="304"/>
                    <a:pt x="58" y="299"/>
                    <a:pt x="60" y="295"/>
                  </a:cubicBezTo>
                  <a:cubicBezTo>
                    <a:pt x="62" y="291"/>
                    <a:pt x="63" y="287"/>
                    <a:pt x="65" y="283"/>
                  </a:cubicBezTo>
                  <a:cubicBezTo>
                    <a:pt x="67" y="278"/>
                    <a:pt x="66" y="274"/>
                    <a:pt x="64" y="271"/>
                  </a:cubicBezTo>
                  <a:cubicBezTo>
                    <a:pt x="60" y="266"/>
                    <a:pt x="57" y="262"/>
                    <a:pt x="53" y="258"/>
                  </a:cubicBezTo>
                  <a:cubicBezTo>
                    <a:pt x="51" y="254"/>
                    <a:pt x="47" y="253"/>
                    <a:pt x="43" y="253"/>
                  </a:cubicBezTo>
                  <a:cubicBezTo>
                    <a:pt x="38" y="254"/>
                    <a:pt x="33" y="254"/>
                    <a:pt x="28" y="255"/>
                  </a:cubicBezTo>
                  <a:cubicBezTo>
                    <a:pt x="22" y="257"/>
                    <a:pt x="18" y="255"/>
                    <a:pt x="15" y="249"/>
                  </a:cubicBezTo>
                  <a:cubicBezTo>
                    <a:pt x="13" y="244"/>
                    <a:pt x="10" y="239"/>
                    <a:pt x="8" y="233"/>
                  </a:cubicBezTo>
                  <a:cubicBezTo>
                    <a:pt x="6" y="229"/>
                    <a:pt x="7" y="225"/>
                    <a:pt x="11" y="222"/>
                  </a:cubicBezTo>
                  <a:cubicBezTo>
                    <a:pt x="15" y="218"/>
                    <a:pt x="20" y="214"/>
                    <a:pt x="25" y="211"/>
                  </a:cubicBezTo>
                  <a:cubicBezTo>
                    <a:pt x="29" y="208"/>
                    <a:pt x="30" y="204"/>
                    <a:pt x="30" y="199"/>
                  </a:cubicBezTo>
                  <a:cubicBezTo>
                    <a:pt x="29" y="195"/>
                    <a:pt x="28" y="192"/>
                    <a:pt x="28" y="189"/>
                  </a:cubicBezTo>
                  <a:cubicBezTo>
                    <a:pt x="28" y="180"/>
                    <a:pt x="23" y="176"/>
                    <a:pt x="16" y="174"/>
                  </a:cubicBezTo>
                  <a:cubicBezTo>
                    <a:pt x="13" y="173"/>
                    <a:pt x="10" y="171"/>
                    <a:pt x="7" y="170"/>
                  </a:cubicBezTo>
                  <a:cubicBezTo>
                    <a:pt x="2" y="169"/>
                    <a:pt x="0" y="166"/>
                    <a:pt x="0" y="162"/>
                  </a:cubicBezTo>
                  <a:cubicBezTo>
                    <a:pt x="1" y="155"/>
                    <a:pt x="1" y="149"/>
                    <a:pt x="2" y="142"/>
                  </a:cubicBezTo>
                  <a:cubicBezTo>
                    <a:pt x="2" y="136"/>
                    <a:pt x="5" y="134"/>
                    <a:pt x="11" y="133"/>
                  </a:cubicBezTo>
                  <a:cubicBezTo>
                    <a:pt x="17" y="132"/>
                    <a:pt x="23" y="132"/>
                    <a:pt x="28" y="131"/>
                  </a:cubicBezTo>
                  <a:cubicBezTo>
                    <a:pt x="32" y="130"/>
                    <a:pt x="35" y="128"/>
                    <a:pt x="36" y="124"/>
                  </a:cubicBezTo>
                  <a:cubicBezTo>
                    <a:pt x="38" y="120"/>
                    <a:pt x="40" y="117"/>
                    <a:pt x="41" y="113"/>
                  </a:cubicBezTo>
                  <a:cubicBezTo>
                    <a:pt x="42" y="109"/>
                    <a:pt x="42" y="105"/>
                    <a:pt x="39" y="101"/>
                  </a:cubicBezTo>
                  <a:cubicBezTo>
                    <a:pt x="36" y="97"/>
                    <a:pt x="32" y="93"/>
                    <a:pt x="29" y="88"/>
                  </a:cubicBezTo>
                  <a:cubicBezTo>
                    <a:pt x="26" y="84"/>
                    <a:pt x="26" y="80"/>
                    <a:pt x="29" y="76"/>
                  </a:cubicBezTo>
                  <a:cubicBezTo>
                    <a:pt x="32" y="71"/>
                    <a:pt x="36" y="66"/>
                    <a:pt x="39" y="62"/>
                  </a:cubicBezTo>
                  <a:cubicBezTo>
                    <a:pt x="42" y="57"/>
                    <a:pt x="46" y="56"/>
                    <a:pt x="52" y="58"/>
                  </a:cubicBezTo>
                  <a:cubicBezTo>
                    <a:pt x="57" y="60"/>
                    <a:pt x="62" y="62"/>
                    <a:pt x="66" y="65"/>
                  </a:cubicBezTo>
                  <a:cubicBezTo>
                    <a:pt x="70" y="67"/>
                    <a:pt x="74" y="66"/>
                    <a:pt x="77" y="64"/>
                  </a:cubicBezTo>
                  <a:cubicBezTo>
                    <a:pt x="78" y="63"/>
                    <a:pt x="79" y="63"/>
                    <a:pt x="79" y="62"/>
                  </a:cubicBezTo>
                  <a:cubicBezTo>
                    <a:pt x="94" y="51"/>
                    <a:pt x="94" y="51"/>
                    <a:pt x="90" y="30"/>
                  </a:cubicBezTo>
                  <a:cubicBezTo>
                    <a:pt x="89" y="23"/>
                    <a:pt x="91" y="20"/>
                    <a:pt x="97" y="17"/>
                  </a:cubicBezTo>
                  <a:cubicBezTo>
                    <a:pt x="102" y="15"/>
                    <a:pt x="107" y="13"/>
                    <a:pt x="112" y="11"/>
                  </a:cubicBezTo>
                  <a:cubicBezTo>
                    <a:pt x="117" y="8"/>
                    <a:pt x="120" y="9"/>
                    <a:pt x="124" y="13"/>
                  </a:cubicBezTo>
                  <a:cubicBezTo>
                    <a:pt x="127" y="17"/>
                    <a:pt x="130" y="22"/>
                    <a:pt x="133" y="26"/>
                  </a:cubicBezTo>
                  <a:cubicBezTo>
                    <a:pt x="138" y="31"/>
                    <a:pt x="142" y="32"/>
                    <a:pt x="148" y="31"/>
                  </a:cubicBezTo>
                  <a:cubicBezTo>
                    <a:pt x="152" y="29"/>
                    <a:pt x="156" y="29"/>
                    <a:pt x="160" y="29"/>
                  </a:cubicBezTo>
                  <a:cubicBezTo>
                    <a:pt x="166" y="28"/>
                    <a:pt x="170" y="26"/>
                    <a:pt x="172" y="21"/>
                  </a:cubicBezTo>
                  <a:cubicBezTo>
                    <a:pt x="173" y="16"/>
                    <a:pt x="175" y="11"/>
                    <a:pt x="177" y="6"/>
                  </a:cubicBezTo>
                  <a:cubicBezTo>
                    <a:pt x="179" y="2"/>
                    <a:pt x="182" y="0"/>
                    <a:pt x="187" y="0"/>
                  </a:cubicBezTo>
                  <a:cubicBezTo>
                    <a:pt x="194" y="1"/>
                    <a:pt x="201" y="2"/>
                    <a:pt x="208" y="3"/>
                  </a:cubicBezTo>
                  <a:cubicBezTo>
                    <a:pt x="212" y="3"/>
                    <a:pt x="214" y="6"/>
                    <a:pt x="214" y="11"/>
                  </a:cubicBezTo>
                  <a:cubicBezTo>
                    <a:pt x="215" y="17"/>
                    <a:pt x="216" y="23"/>
                    <a:pt x="217" y="29"/>
                  </a:cubicBezTo>
                  <a:cubicBezTo>
                    <a:pt x="218" y="34"/>
                    <a:pt x="221" y="36"/>
                    <a:pt x="225" y="38"/>
                  </a:cubicBezTo>
                  <a:cubicBezTo>
                    <a:pt x="228" y="39"/>
                    <a:pt x="231" y="40"/>
                    <a:pt x="234" y="41"/>
                  </a:cubicBezTo>
                  <a:cubicBezTo>
                    <a:pt x="239" y="45"/>
                    <a:pt x="244" y="43"/>
                    <a:pt x="248" y="40"/>
                  </a:cubicBezTo>
                  <a:cubicBezTo>
                    <a:pt x="252" y="37"/>
                    <a:pt x="256" y="34"/>
                    <a:pt x="259" y="31"/>
                  </a:cubicBezTo>
                  <a:cubicBezTo>
                    <a:pt x="264" y="27"/>
                    <a:pt x="268" y="27"/>
                    <a:pt x="273" y="31"/>
                  </a:cubicBezTo>
                  <a:cubicBezTo>
                    <a:pt x="277" y="34"/>
                    <a:pt x="281" y="37"/>
                    <a:pt x="285" y="41"/>
                  </a:cubicBezTo>
                  <a:cubicBezTo>
                    <a:pt x="290" y="45"/>
                    <a:pt x="291" y="49"/>
                    <a:pt x="288" y="55"/>
                  </a:cubicBezTo>
                  <a:cubicBezTo>
                    <a:pt x="286" y="59"/>
                    <a:pt x="284" y="64"/>
                    <a:pt x="283" y="68"/>
                  </a:cubicBezTo>
                  <a:cubicBezTo>
                    <a:pt x="282" y="71"/>
                    <a:pt x="282" y="74"/>
                    <a:pt x="283" y="76"/>
                  </a:cubicBezTo>
                  <a:cubicBezTo>
                    <a:pt x="286" y="81"/>
                    <a:pt x="290" y="86"/>
                    <a:pt x="295" y="91"/>
                  </a:cubicBezTo>
                  <a:cubicBezTo>
                    <a:pt x="296" y="93"/>
                    <a:pt x="299" y="93"/>
                    <a:pt x="301" y="94"/>
                  </a:cubicBezTo>
                  <a:close/>
                  <a:moveTo>
                    <a:pt x="174" y="63"/>
                  </a:moveTo>
                  <a:cubicBezTo>
                    <a:pt x="112" y="63"/>
                    <a:pt x="62" y="113"/>
                    <a:pt x="62" y="174"/>
                  </a:cubicBezTo>
                  <a:cubicBezTo>
                    <a:pt x="62" y="236"/>
                    <a:pt x="112" y="285"/>
                    <a:pt x="173" y="286"/>
                  </a:cubicBezTo>
                  <a:cubicBezTo>
                    <a:pt x="235" y="286"/>
                    <a:pt x="285" y="236"/>
                    <a:pt x="285" y="174"/>
                  </a:cubicBezTo>
                  <a:cubicBezTo>
                    <a:pt x="285" y="112"/>
                    <a:pt x="234" y="63"/>
                    <a:pt x="174" y="63"/>
                  </a:cubicBezTo>
                  <a:close/>
                </a:path>
              </a:pathLst>
            </a:custGeom>
            <a:solidFill>
              <a:srgbClr val="AD6580"/>
            </a:solidFill>
            <a:ln>
              <a:noFill/>
            </a:ln>
          </p:spPr>
          <p:txBody>
            <a:bodyPr vert="horz" wrap="square" lIns="16274" tIns="8138" rIns="16274" bIns="8138" numCol="1" anchor="t" anchorCtr="0" compatLnSpc="1">
              <a:prstTxWarp prst="textNoShape">
                <a:avLst/>
              </a:prstTxWarp>
            </a:bodyPr>
            <a:lstStyle/>
            <a:p>
              <a:endParaRPr lang="en-US" sz="569" dirty="0">
                <a:solidFill>
                  <a:prstClr val="black"/>
                </a:solidFill>
              </a:endParaRPr>
            </a:p>
          </p:txBody>
        </p:sp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6882914" y="4097406"/>
              <a:ext cx="1069137" cy="476026"/>
            </a:xfrm>
            <a:custGeom>
              <a:avLst/>
              <a:gdLst>
                <a:gd name="T0" fmla="*/ 320 w 349"/>
                <a:gd name="T1" fmla="*/ 91 h 350"/>
                <a:gd name="T2" fmla="*/ 337 w 349"/>
                <a:gd name="T3" fmla="*/ 115 h 350"/>
                <a:gd name="T4" fmla="*/ 323 w 349"/>
                <a:gd name="T5" fmla="*/ 133 h 350"/>
                <a:gd name="T6" fmla="*/ 318 w 349"/>
                <a:gd name="T7" fmla="*/ 157 h 350"/>
                <a:gd name="T8" fmla="*/ 338 w 349"/>
                <a:gd name="T9" fmla="*/ 177 h 350"/>
                <a:gd name="T10" fmla="*/ 344 w 349"/>
                <a:gd name="T11" fmla="*/ 208 h 350"/>
                <a:gd name="T12" fmla="*/ 322 w 349"/>
                <a:gd name="T13" fmla="*/ 217 h 350"/>
                <a:gd name="T14" fmla="*/ 306 w 349"/>
                <a:gd name="T15" fmla="*/ 236 h 350"/>
                <a:gd name="T16" fmla="*/ 317 w 349"/>
                <a:gd name="T17" fmla="*/ 260 h 350"/>
                <a:gd name="T18" fmla="*/ 307 w 349"/>
                <a:gd name="T19" fmla="*/ 286 h 350"/>
                <a:gd name="T20" fmla="*/ 279 w 349"/>
                <a:gd name="T21" fmla="*/ 283 h 350"/>
                <a:gd name="T22" fmla="*/ 258 w 349"/>
                <a:gd name="T23" fmla="*/ 294 h 350"/>
                <a:gd name="T24" fmla="*/ 256 w 349"/>
                <a:gd name="T25" fmla="*/ 321 h 350"/>
                <a:gd name="T26" fmla="*/ 233 w 349"/>
                <a:gd name="T27" fmla="*/ 337 h 350"/>
                <a:gd name="T28" fmla="*/ 212 w 349"/>
                <a:gd name="T29" fmla="*/ 322 h 350"/>
                <a:gd name="T30" fmla="*/ 187 w 349"/>
                <a:gd name="T31" fmla="*/ 320 h 350"/>
                <a:gd name="T32" fmla="*/ 171 w 349"/>
                <a:gd name="T33" fmla="*/ 343 h 350"/>
                <a:gd name="T34" fmla="*/ 140 w 349"/>
                <a:gd name="T35" fmla="*/ 346 h 350"/>
                <a:gd name="T36" fmla="*/ 133 w 349"/>
                <a:gd name="T37" fmla="*/ 324 h 350"/>
                <a:gd name="T38" fmla="*/ 113 w 349"/>
                <a:gd name="T39" fmla="*/ 308 h 350"/>
                <a:gd name="T40" fmla="*/ 87 w 349"/>
                <a:gd name="T41" fmla="*/ 321 h 350"/>
                <a:gd name="T42" fmla="*/ 61 w 349"/>
                <a:gd name="T43" fmla="*/ 307 h 350"/>
                <a:gd name="T44" fmla="*/ 65 w 349"/>
                <a:gd name="T45" fmla="*/ 283 h 350"/>
                <a:gd name="T46" fmla="*/ 53 w 349"/>
                <a:gd name="T47" fmla="*/ 258 h 350"/>
                <a:gd name="T48" fmla="*/ 28 w 349"/>
                <a:gd name="T49" fmla="*/ 255 h 350"/>
                <a:gd name="T50" fmla="*/ 8 w 349"/>
                <a:gd name="T51" fmla="*/ 233 h 350"/>
                <a:gd name="T52" fmla="*/ 25 w 349"/>
                <a:gd name="T53" fmla="*/ 211 h 350"/>
                <a:gd name="T54" fmla="*/ 28 w 349"/>
                <a:gd name="T55" fmla="*/ 189 h 350"/>
                <a:gd name="T56" fmla="*/ 7 w 349"/>
                <a:gd name="T57" fmla="*/ 170 h 350"/>
                <a:gd name="T58" fmla="*/ 2 w 349"/>
                <a:gd name="T59" fmla="*/ 142 h 350"/>
                <a:gd name="T60" fmla="*/ 28 w 349"/>
                <a:gd name="T61" fmla="*/ 131 h 350"/>
                <a:gd name="T62" fmla="*/ 41 w 349"/>
                <a:gd name="T63" fmla="*/ 113 h 350"/>
                <a:gd name="T64" fmla="*/ 29 w 349"/>
                <a:gd name="T65" fmla="*/ 88 h 350"/>
                <a:gd name="T66" fmla="*/ 39 w 349"/>
                <a:gd name="T67" fmla="*/ 62 h 350"/>
                <a:gd name="T68" fmla="*/ 66 w 349"/>
                <a:gd name="T69" fmla="*/ 65 h 350"/>
                <a:gd name="T70" fmla="*/ 79 w 349"/>
                <a:gd name="T71" fmla="*/ 62 h 350"/>
                <a:gd name="T72" fmla="*/ 97 w 349"/>
                <a:gd name="T73" fmla="*/ 17 h 350"/>
                <a:gd name="T74" fmla="*/ 124 w 349"/>
                <a:gd name="T75" fmla="*/ 13 h 350"/>
                <a:gd name="T76" fmla="*/ 148 w 349"/>
                <a:gd name="T77" fmla="*/ 31 h 350"/>
                <a:gd name="T78" fmla="*/ 172 w 349"/>
                <a:gd name="T79" fmla="*/ 21 h 350"/>
                <a:gd name="T80" fmla="*/ 187 w 349"/>
                <a:gd name="T81" fmla="*/ 0 h 350"/>
                <a:gd name="T82" fmla="*/ 214 w 349"/>
                <a:gd name="T83" fmla="*/ 11 h 350"/>
                <a:gd name="T84" fmla="*/ 225 w 349"/>
                <a:gd name="T85" fmla="*/ 38 h 350"/>
                <a:gd name="T86" fmla="*/ 248 w 349"/>
                <a:gd name="T87" fmla="*/ 40 h 350"/>
                <a:gd name="T88" fmla="*/ 273 w 349"/>
                <a:gd name="T89" fmla="*/ 31 h 350"/>
                <a:gd name="T90" fmla="*/ 288 w 349"/>
                <a:gd name="T91" fmla="*/ 55 h 350"/>
                <a:gd name="T92" fmla="*/ 283 w 349"/>
                <a:gd name="T93" fmla="*/ 76 h 350"/>
                <a:gd name="T94" fmla="*/ 301 w 349"/>
                <a:gd name="T95" fmla="*/ 94 h 350"/>
                <a:gd name="T96" fmla="*/ 62 w 349"/>
                <a:gd name="T97" fmla="*/ 174 h 350"/>
                <a:gd name="T98" fmla="*/ 285 w 349"/>
                <a:gd name="T99" fmla="*/ 174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49" h="350">
                  <a:moveTo>
                    <a:pt x="301" y="94"/>
                  </a:moveTo>
                  <a:cubicBezTo>
                    <a:pt x="308" y="93"/>
                    <a:pt x="314" y="92"/>
                    <a:pt x="320" y="91"/>
                  </a:cubicBezTo>
                  <a:cubicBezTo>
                    <a:pt x="324" y="90"/>
                    <a:pt x="328" y="92"/>
                    <a:pt x="330" y="96"/>
                  </a:cubicBezTo>
                  <a:cubicBezTo>
                    <a:pt x="332" y="102"/>
                    <a:pt x="335" y="109"/>
                    <a:pt x="337" y="115"/>
                  </a:cubicBezTo>
                  <a:cubicBezTo>
                    <a:pt x="339" y="119"/>
                    <a:pt x="337" y="122"/>
                    <a:pt x="335" y="125"/>
                  </a:cubicBezTo>
                  <a:cubicBezTo>
                    <a:pt x="331" y="128"/>
                    <a:pt x="327" y="130"/>
                    <a:pt x="323" y="133"/>
                  </a:cubicBezTo>
                  <a:cubicBezTo>
                    <a:pt x="317" y="138"/>
                    <a:pt x="316" y="141"/>
                    <a:pt x="317" y="149"/>
                  </a:cubicBezTo>
                  <a:cubicBezTo>
                    <a:pt x="318" y="151"/>
                    <a:pt x="318" y="154"/>
                    <a:pt x="318" y="157"/>
                  </a:cubicBezTo>
                  <a:cubicBezTo>
                    <a:pt x="318" y="168"/>
                    <a:pt x="324" y="173"/>
                    <a:pt x="333" y="176"/>
                  </a:cubicBezTo>
                  <a:cubicBezTo>
                    <a:pt x="335" y="176"/>
                    <a:pt x="336" y="177"/>
                    <a:pt x="338" y="177"/>
                  </a:cubicBezTo>
                  <a:cubicBezTo>
                    <a:pt x="349" y="182"/>
                    <a:pt x="347" y="184"/>
                    <a:pt x="346" y="194"/>
                  </a:cubicBezTo>
                  <a:cubicBezTo>
                    <a:pt x="346" y="199"/>
                    <a:pt x="345" y="203"/>
                    <a:pt x="344" y="208"/>
                  </a:cubicBezTo>
                  <a:cubicBezTo>
                    <a:pt x="343" y="212"/>
                    <a:pt x="340" y="215"/>
                    <a:pt x="336" y="215"/>
                  </a:cubicBezTo>
                  <a:cubicBezTo>
                    <a:pt x="331" y="216"/>
                    <a:pt x="327" y="216"/>
                    <a:pt x="322" y="217"/>
                  </a:cubicBezTo>
                  <a:cubicBezTo>
                    <a:pt x="317" y="217"/>
                    <a:pt x="313" y="220"/>
                    <a:pt x="310" y="225"/>
                  </a:cubicBezTo>
                  <a:cubicBezTo>
                    <a:pt x="309" y="229"/>
                    <a:pt x="308" y="232"/>
                    <a:pt x="306" y="236"/>
                  </a:cubicBezTo>
                  <a:cubicBezTo>
                    <a:pt x="304" y="241"/>
                    <a:pt x="305" y="245"/>
                    <a:pt x="308" y="249"/>
                  </a:cubicBezTo>
                  <a:cubicBezTo>
                    <a:pt x="311" y="253"/>
                    <a:pt x="314" y="256"/>
                    <a:pt x="317" y="260"/>
                  </a:cubicBezTo>
                  <a:cubicBezTo>
                    <a:pt x="321" y="265"/>
                    <a:pt x="321" y="269"/>
                    <a:pt x="317" y="274"/>
                  </a:cubicBezTo>
                  <a:cubicBezTo>
                    <a:pt x="313" y="278"/>
                    <a:pt x="310" y="282"/>
                    <a:pt x="307" y="286"/>
                  </a:cubicBezTo>
                  <a:cubicBezTo>
                    <a:pt x="302" y="292"/>
                    <a:pt x="299" y="292"/>
                    <a:pt x="293" y="289"/>
                  </a:cubicBezTo>
                  <a:cubicBezTo>
                    <a:pt x="288" y="287"/>
                    <a:pt x="284" y="285"/>
                    <a:pt x="279" y="283"/>
                  </a:cubicBezTo>
                  <a:cubicBezTo>
                    <a:pt x="275" y="282"/>
                    <a:pt x="271" y="284"/>
                    <a:pt x="268" y="286"/>
                  </a:cubicBezTo>
                  <a:cubicBezTo>
                    <a:pt x="264" y="289"/>
                    <a:pt x="261" y="291"/>
                    <a:pt x="258" y="294"/>
                  </a:cubicBezTo>
                  <a:cubicBezTo>
                    <a:pt x="254" y="297"/>
                    <a:pt x="253" y="301"/>
                    <a:pt x="254" y="306"/>
                  </a:cubicBezTo>
                  <a:cubicBezTo>
                    <a:pt x="255" y="311"/>
                    <a:pt x="255" y="316"/>
                    <a:pt x="256" y="321"/>
                  </a:cubicBezTo>
                  <a:cubicBezTo>
                    <a:pt x="256" y="326"/>
                    <a:pt x="254" y="329"/>
                    <a:pt x="251" y="330"/>
                  </a:cubicBezTo>
                  <a:cubicBezTo>
                    <a:pt x="245" y="333"/>
                    <a:pt x="239" y="335"/>
                    <a:pt x="233" y="337"/>
                  </a:cubicBezTo>
                  <a:cubicBezTo>
                    <a:pt x="227" y="339"/>
                    <a:pt x="224" y="338"/>
                    <a:pt x="220" y="333"/>
                  </a:cubicBezTo>
                  <a:cubicBezTo>
                    <a:pt x="218" y="329"/>
                    <a:pt x="215" y="325"/>
                    <a:pt x="212" y="322"/>
                  </a:cubicBezTo>
                  <a:cubicBezTo>
                    <a:pt x="209" y="318"/>
                    <a:pt x="205" y="317"/>
                    <a:pt x="201" y="318"/>
                  </a:cubicBezTo>
                  <a:cubicBezTo>
                    <a:pt x="196" y="318"/>
                    <a:pt x="192" y="319"/>
                    <a:pt x="187" y="320"/>
                  </a:cubicBezTo>
                  <a:cubicBezTo>
                    <a:pt x="182" y="321"/>
                    <a:pt x="179" y="324"/>
                    <a:pt x="177" y="328"/>
                  </a:cubicBezTo>
                  <a:cubicBezTo>
                    <a:pt x="175" y="333"/>
                    <a:pt x="173" y="338"/>
                    <a:pt x="171" y="343"/>
                  </a:cubicBezTo>
                  <a:cubicBezTo>
                    <a:pt x="169" y="347"/>
                    <a:pt x="167" y="350"/>
                    <a:pt x="162" y="349"/>
                  </a:cubicBezTo>
                  <a:cubicBezTo>
                    <a:pt x="155" y="348"/>
                    <a:pt x="147" y="348"/>
                    <a:pt x="140" y="346"/>
                  </a:cubicBezTo>
                  <a:cubicBezTo>
                    <a:pt x="137" y="345"/>
                    <a:pt x="135" y="341"/>
                    <a:pt x="134" y="338"/>
                  </a:cubicBezTo>
                  <a:cubicBezTo>
                    <a:pt x="133" y="333"/>
                    <a:pt x="133" y="328"/>
                    <a:pt x="133" y="324"/>
                  </a:cubicBezTo>
                  <a:cubicBezTo>
                    <a:pt x="132" y="318"/>
                    <a:pt x="129" y="313"/>
                    <a:pt x="123" y="312"/>
                  </a:cubicBezTo>
                  <a:cubicBezTo>
                    <a:pt x="119" y="310"/>
                    <a:pt x="116" y="309"/>
                    <a:pt x="113" y="308"/>
                  </a:cubicBezTo>
                  <a:cubicBezTo>
                    <a:pt x="108" y="306"/>
                    <a:pt x="104" y="307"/>
                    <a:pt x="101" y="310"/>
                  </a:cubicBezTo>
                  <a:cubicBezTo>
                    <a:pt x="96" y="314"/>
                    <a:pt x="92" y="317"/>
                    <a:pt x="87" y="321"/>
                  </a:cubicBezTo>
                  <a:cubicBezTo>
                    <a:pt x="84" y="323"/>
                    <a:pt x="81" y="323"/>
                    <a:pt x="78" y="320"/>
                  </a:cubicBezTo>
                  <a:cubicBezTo>
                    <a:pt x="72" y="316"/>
                    <a:pt x="66" y="312"/>
                    <a:pt x="61" y="307"/>
                  </a:cubicBezTo>
                  <a:cubicBezTo>
                    <a:pt x="57" y="304"/>
                    <a:pt x="58" y="299"/>
                    <a:pt x="60" y="295"/>
                  </a:cubicBezTo>
                  <a:cubicBezTo>
                    <a:pt x="62" y="291"/>
                    <a:pt x="63" y="287"/>
                    <a:pt x="65" y="283"/>
                  </a:cubicBezTo>
                  <a:cubicBezTo>
                    <a:pt x="67" y="278"/>
                    <a:pt x="66" y="274"/>
                    <a:pt x="64" y="271"/>
                  </a:cubicBezTo>
                  <a:cubicBezTo>
                    <a:pt x="60" y="266"/>
                    <a:pt x="57" y="262"/>
                    <a:pt x="53" y="258"/>
                  </a:cubicBezTo>
                  <a:cubicBezTo>
                    <a:pt x="51" y="254"/>
                    <a:pt x="47" y="253"/>
                    <a:pt x="43" y="253"/>
                  </a:cubicBezTo>
                  <a:cubicBezTo>
                    <a:pt x="38" y="254"/>
                    <a:pt x="33" y="254"/>
                    <a:pt x="28" y="255"/>
                  </a:cubicBezTo>
                  <a:cubicBezTo>
                    <a:pt x="22" y="257"/>
                    <a:pt x="18" y="255"/>
                    <a:pt x="15" y="249"/>
                  </a:cubicBezTo>
                  <a:cubicBezTo>
                    <a:pt x="13" y="244"/>
                    <a:pt x="10" y="239"/>
                    <a:pt x="8" y="233"/>
                  </a:cubicBezTo>
                  <a:cubicBezTo>
                    <a:pt x="6" y="229"/>
                    <a:pt x="7" y="225"/>
                    <a:pt x="11" y="222"/>
                  </a:cubicBezTo>
                  <a:cubicBezTo>
                    <a:pt x="15" y="218"/>
                    <a:pt x="20" y="214"/>
                    <a:pt x="25" y="211"/>
                  </a:cubicBezTo>
                  <a:cubicBezTo>
                    <a:pt x="29" y="208"/>
                    <a:pt x="30" y="204"/>
                    <a:pt x="30" y="199"/>
                  </a:cubicBezTo>
                  <a:cubicBezTo>
                    <a:pt x="29" y="195"/>
                    <a:pt x="28" y="192"/>
                    <a:pt x="28" y="189"/>
                  </a:cubicBezTo>
                  <a:cubicBezTo>
                    <a:pt x="28" y="180"/>
                    <a:pt x="23" y="176"/>
                    <a:pt x="16" y="174"/>
                  </a:cubicBezTo>
                  <a:cubicBezTo>
                    <a:pt x="13" y="173"/>
                    <a:pt x="10" y="171"/>
                    <a:pt x="7" y="170"/>
                  </a:cubicBezTo>
                  <a:cubicBezTo>
                    <a:pt x="2" y="169"/>
                    <a:pt x="0" y="166"/>
                    <a:pt x="0" y="162"/>
                  </a:cubicBezTo>
                  <a:cubicBezTo>
                    <a:pt x="1" y="155"/>
                    <a:pt x="1" y="149"/>
                    <a:pt x="2" y="142"/>
                  </a:cubicBezTo>
                  <a:cubicBezTo>
                    <a:pt x="2" y="136"/>
                    <a:pt x="5" y="134"/>
                    <a:pt x="11" y="133"/>
                  </a:cubicBezTo>
                  <a:cubicBezTo>
                    <a:pt x="17" y="132"/>
                    <a:pt x="23" y="132"/>
                    <a:pt x="28" y="131"/>
                  </a:cubicBezTo>
                  <a:cubicBezTo>
                    <a:pt x="32" y="130"/>
                    <a:pt x="35" y="128"/>
                    <a:pt x="36" y="124"/>
                  </a:cubicBezTo>
                  <a:cubicBezTo>
                    <a:pt x="38" y="120"/>
                    <a:pt x="40" y="117"/>
                    <a:pt x="41" y="113"/>
                  </a:cubicBezTo>
                  <a:cubicBezTo>
                    <a:pt x="42" y="109"/>
                    <a:pt x="42" y="105"/>
                    <a:pt x="39" y="101"/>
                  </a:cubicBezTo>
                  <a:cubicBezTo>
                    <a:pt x="36" y="97"/>
                    <a:pt x="32" y="93"/>
                    <a:pt x="29" y="88"/>
                  </a:cubicBezTo>
                  <a:cubicBezTo>
                    <a:pt x="26" y="84"/>
                    <a:pt x="26" y="80"/>
                    <a:pt x="29" y="76"/>
                  </a:cubicBezTo>
                  <a:cubicBezTo>
                    <a:pt x="32" y="71"/>
                    <a:pt x="36" y="66"/>
                    <a:pt x="39" y="62"/>
                  </a:cubicBezTo>
                  <a:cubicBezTo>
                    <a:pt x="42" y="57"/>
                    <a:pt x="46" y="56"/>
                    <a:pt x="52" y="58"/>
                  </a:cubicBezTo>
                  <a:cubicBezTo>
                    <a:pt x="57" y="60"/>
                    <a:pt x="62" y="62"/>
                    <a:pt x="66" y="65"/>
                  </a:cubicBezTo>
                  <a:cubicBezTo>
                    <a:pt x="70" y="67"/>
                    <a:pt x="74" y="66"/>
                    <a:pt x="77" y="64"/>
                  </a:cubicBezTo>
                  <a:cubicBezTo>
                    <a:pt x="78" y="63"/>
                    <a:pt x="79" y="63"/>
                    <a:pt x="79" y="62"/>
                  </a:cubicBezTo>
                  <a:cubicBezTo>
                    <a:pt x="94" y="51"/>
                    <a:pt x="94" y="51"/>
                    <a:pt x="90" y="30"/>
                  </a:cubicBezTo>
                  <a:cubicBezTo>
                    <a:pt x="89" y="23"/>
                    <a:pt x="91" y="20"/>
                    <a:pt x="97" y="17"/>
                  </a:cubicBezTo>
                  <a:cubicBezTo>
                    <a:pt x="102" y="15"/>
                    <a:pt x="107" y="13"/>
                    <a:pt x="112" y="11"/>
                  </a:cubicBezTo>
                  <a:cubicBezTo>
                    <a:pt x="117" y="8"/>
                    <a:pt x="120" y="9"/>
                    <a:pt x="124" y="13"/>
                  </a:cubicBezTo>
                  <a:cubicBezTo>
                    <a:pt x="127" y="17"/>
                    <a:pt x="130" y="22"/>
                    <a:pt x="133" y="26"/>
                  </a:cubicBezTo>
                  <a:cubicBezTo>
                    <a:pt x="138" y="31"/>
                    <a:pt x="142" y="32"/>
                    <a:pt x="148" y="31"/>
                  </a:cubicBezTo>
                  <a:cubicBezTo>
                    <a:pt x="152" y="29"/>
                    <a:pt x="156" y="29"/>
                    <a:pt x="160" y="29"/>
                  </a:cubicBezTo>
                  <a:cubicBezTo>
                    <a:pt x="166" y="28"/>
                    <a:pt x="170" y="26"/>
                    <a:pt x="172" y="21"/>
                  </a:cubicBezTo>
                  <a:cubicBezTo>
                    <a:pt x="173" y="16"/>
                    <a:pt x="175" y="11"/>
                    <a:pt x="177" y="6"/>
                  </a:cubicBezTo>
                  <a:cubicBezTo>
                    <a:pt x="179" y="2"/>
                    <a:pt x="182" y="0"/>
                    <a:pt x="187" y="0"/>
                  </a:cubicBezTo>
                  <a:cubicBezTo>
                    <a:pt x="194" y="1"/>
                    <a:pt x="201" y="2"/>
                    <a:pt x="208" y="3"/>
                  </a:cubicBezTo>
                  <a:cubicBezTo>
                    <a:pt x="212" y="3"/>
                    <a:pt x="214" y="6"/>
                    <a:pt x="214" y="11"/>
                  </a:cubicBezTo>
                  <a:cubicBezTo>
                    <a:pt x="215" y="17"/>
                    <a:pt x="216" y="23"/>
                    <a:pt x="217" y="29"/>
                  </a:cubicBezTo>
                  <a:cubicBezTo>
                    <a:pt x="218" y="34"/>
                    <a:pt x="221" y="36"/>
                    <a:pt x="225" y="38"/>
                  </a:cubicBezTo>
                  <a:cubicBezTo>
                    <a:pt x="228" y="39"/>
                    <a:pt x="231" y="40"/>
                    <a:pt x="234" y="41"/>
                  </a:cubicBezTo>
                  <a:cubicBezTo>
                    <a:pt x="239" y="45"/>
                    <a:pt x="244" y="43"/>
                    <a:pt x="248" y="40"/>
                  </a:cubicBezTo>
                  <a:cubicBezTo>
                    <a:pt x="252" y="37"/>
                    <a:pt x="256" y="34"/>
                    <a:pt x="259" y="31"/>
                  </a:cubicBezTo>
                  <a:cubicBezTo>
                    <a:pt x="264" y="27"/>
                    <a:pt x="268" y="27"/>
                    <a:pt x="273" y="31"/>
                  </a:cubicBezTo>
                  <a:cubicBezTo>
                    <a:pt x="277" y="34"/>
                    <a:pt x="281" y="37"/>
                    <a:pt x="285" y="41"/>
                  </a:cubicBezTo>
                  <a:cubicBezTo>
                    <a:pt x="290" y="45"/>
                    <a:pt x="291" y="49"/>
                    <a:pt x="288" y="55"/>
                  </a:cubicBezTo>
                  <a:cubicBezTo>
                    <a:pt x="286" y="59"/>
                    <a:pt x="284" y="64"/>
                    <a:pt x="283" y="68"/>
                  </a:cubicBezTo>
                  <a:cubicBezTo>
                    <a:pt x="282" y="71"/>
                    <a:pt x="282" y="74"/>
                    <a:pt x="283" y="76"/>
                  </a:cubicBezTo>
                  <a:cubicBezTo>
                    <a:pt x="286" y="81"/>
                    <a:pt x="290" y="86"/>
                    <a:pt x="295" y="91"/>
                  </a:cubicBezTo>
                  <a:cubicBezTo>
                    <a:pt x="296" y="93"/>
                    <a:pt x="299" y="93"/>
                    <a:pt x="301" y="94"/>
                  </a:cubicBezTo>
                  <a:close/>
                  <a:moveTo>
                    <a:pt x="174" y="63"/>
                  </a:moveTo>
                  <a:cubicBezTo>
                    <a:pt x="112" y="63"/>
                    <a:pt x="62" y="113"/>
                    <a:pt x="62" y="174"/>
                  </a:cubicBezTo>
                  <a:cubicBezTo>
                    <a:pt x="62" y="236"/>
                    <a:pt x="112" y="285"/>
                    <a:pt x="173" y="286"/>
                  </a:cubicBezTo>
                  <a:cubicBezTo>
                    <a:pt x="235" y="286"/>
                    <a:pt x="285" y="236"/>
                    <a:pt x="285" y="174"/>
                  </a:cubicBezTo>
                  <a:cubicBezTo>
                    <a:pt x="285" y="112"/>
                    <a:pt x="234" y="63"/>
                    <a:pt x="174" y="6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6274" tIns="8138" rIns="16274" bIns="8138" numCol="1" anchor="t" anchorCtr="0" compatLnSpc="1">
              <a:prstTxWarp prst="textNoShape">
                <a:avLst/>
              </a:prstTxWarp>
            </a:bodyPr>
            <a:lstStyle/>
            <a:p>
              <a:endParaRPr lang="en-US" sz="569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5"/>
            <p:cNvSpPr>
              <a:spLocks noEditPoints="1"/>
            </p:cNvSpPr>
            <p:nvPr/>
          </p:nvSpPr>
          <p:spPr bwMode="auto">
            <a:xfrm>
              <a:off x="3311047" y="3099639"/>
              <a:ext cx="1914504" cy="890424"/>
            </a:xfrm>
            <a:custGeom>
              <a:avLst/>
              <a:gdLst>
                <a:gd name="T0" fmla="*/ 320 w 349"/>
                <a:gd name="T1" fmla="*/ 91 h 350"/>
                <a:gd name="T2" fmla="*/ 337 w 349"/>
                <a:gd name="T3" fmla="*/ 115 h 350"/>
                <a:gd name="T4" fmla="*/ 323 w 349"/>
                <a:gd name="T5" fmla="*/ 133 h 350"/>
                <a:gd name="T6" fmla="*/ 318 w 349"/>
                <a:gd name="T7" fmla="*/ 157 h 350"/>
                <a:gd name="T8" fmla="*/ 338 w 349"/>
                <a:gd name="T9" fmla="*/ 177 h 350"/>
                <a:gd name="T10" fmla="*/ 344 w 349"/>
                <a:gd name="T11" fmla="*/ 208 h 350"/>
                <a:gd name="T12" fmla="*/ 322 w 349"/>
                <a:gd name="T13" fmla="*/ 217 h 350"/>
                <a:gd name="T14" fmla="*/ 306 w 349"/>
                <a:gd name="T15" fmla="*/ 236 h 350"/>
                <a:gd name="T16" fmla="*/ 317 w 349"/>
                <a:gd name="T17" fmla="*/ 260 h 350"/>
                <a:gd name="T18" fmla="*/ 307 w 349"/>
                <a:gd name="T19" fmla="*/ 286 h 350"/>
                <a:gd name="T20" fmla="*/ 279 w 349"/>
                <a:gd name="T21" fmla="*/ 283 h 350"/>
                <a:gd name="T22" fmla="*/ 258 w 349"/>
                <a:gd name="T23" fmla="*/ 294 h 350"/>
                <a:gd name="T24" fmla="*/ 256 w 349"/>
                <a:gd name="T25" fmla="*/ 321 h 350"/>
                <a:gd name="T26" fmla="*/ 233 w 349"/>
                <a:gd name="T27" fmla="*/ 337 h 350"/>
                <a:gd name="T28" fmla="*/ 212 w 349"/>
                <a:gd name="T29" fmla="*/ 322 h 350"/>
                <a:gd name="T30" fmla="*/ 187 w 349"/>
                <a:gd name="T31" fmla="*/ 320 h 350"/>
                <a:gd name="T32" fmla="*/ 171 w 349"/>
                <a:gd name="T33" fmla="*/ 343 h 350"/>
                <a:gd name="T34" fmla="*/ 140 w 349"/>
                <a:gd name="T35" fmla="*/ 346 h 350"/>
                <a:gd name="T36" fmla="*/ 133 w 349"/>
                <a:gd name="T37" fmla="*/ 324 h 350"/>
                <a:gd name="T38" fmla="*/ 113 w 349"/>
                <a:gd name="T39" fmla="*/ 308 h 350"/>
                <a:gd name="T40" fmla="*/ 87 w 349"/>
                <a:gd name="T41" fmla="*/ 321 h 350"/>
                <a:gd name="T42" fmla="*/ 61 w 349"/>
                <a:gd name="T43" fmla="*/ 307 h 350"/>
                <a:gd name="T44" fmla="*/ 65 w 349"/>
                <a:gd name="T45" fmla="*/ 283 h 350"/>
                <a:gd name="T46" fmla="*/ 53 w 349"/>
                <a:gd name="T47" fmla="*/ 258 h 350"/>
                <a:gd name="T48" fmla="*/ 28 w 349"/>
                <a:gd name="T49" fmla="*/ 255 h 350"/>
                <a:gd name="T50" fmla="*/ 8 w 349"/>
                <a:gd name="T51" fmla="*/ 233 h 350"/>
                <a:gd name="T52" fmla="*/ 25 w 349"/>
                <a:gd name="T53" fmla="*/ 211 h 350"/>
                <a:gd name="T54" fmla="*/ 28 w 349"/>
                <a:gd name="T55" fmla="*/ 189 h 350"/>
                <a:gd name="T56" fmla="*/ 7 w 349"/>
                <a:gd name="T57" fmla="*/ 170 h 350"/>
                <a:gd name="T58" fmla="*/ 2 w 349"/>
                <a:gd name="T59" fmla="*/ 142 h 350"/>
                <a:gd name="T60" fmla="*/ 28 w 349"/>
                <a:gd name="T61" fmla="*/ 131 h 350"/>
                <a:gd name="T62" fmla="*/ 41 w 349"/>
                <a:gd name="T63" fmla="*/ 113 h 350"/>
                <a:gd name="T64" fmla="*/ 29 w 349"/>
                <a:gd name="T65" fmla="*/ 88 h 350"/>
                <a:gd name="T66" fmla="*/ 39 w 349"/>
                <a:gd name="T67" fmla="*/ 62 h 350"/>
                <a:gd name="T68" fmla="*/ 66 w 349"/>
                <a:gd name="T69" fmla="*/ 65 h 350"/>
                <a:gd name="T70" fmla="*/ 79 w 349"/>
                <a:gd name="T71" fmla="*/ 62 h 350"/>
                <a:gd name="T72" fmla="*/ 97 w 349"/>
                <a:gd name="T73" fmla="*/ 17 h 350"/>
                <a:gd name="T74" fmla="*/ 124 w 349"/>
                <a:gd name="T75" fmla="*/ 13 h 350"/>
                <a:gd name="T76" fmla="*/ 148 w 349"/>
                <a:gd name="T77" fmla="*/ 31 h 350"/>
                <a:gd name="T78" fmla="*/ 172 w 349"/>
                <a:gd name="T79" fmla="*/ 21 h 350"/>
                <a:gd name="T80" fmla="*/ 187 w 349"/>
                <a:gd name="T81" fmla="*/ 0 h 350"/>
                <a:gd name="T82" fmla="*/ 214 w 349"/>
                <a:gd name="T83" fmla="*/ 11 h 350"/>
                <a:gd name="T84" fmla="*/ 225 w 349"/>
                <a:gd name="T85" fmla="*/ 38 h 350"/>
                <a:gd name="T86" fmla="*/ 248 w 349"/>
                <a:gd name="T87" fmla="*/ 40 h 350"/>
                <a:gd name="T88" fmla="*/ 273 w 349"/>
                <a:gd name="T89" fmla="*/ 31 h 350"/>
                <a:gd name="T90" fmla="*/ 288 w 349"/>
                <a:gd name="T91" fmla="*/ 55 h 350"/>
                <a:gd name="T92" fmla="*/ 283 w 349"/>
                <a:gd name="T93" fmla="*/ 76 h 350"/>
                <a:gd name="T94" fmla="*/ 301 w 349"/>
                <a:gd name="T95" fmla="*/ 94 h 350"/>
                <a:gd name="T96" fmla="*/ 62 w 349"/>
                <a:gd name="T97" fmla="*/ 174 h 350"/>
                <a:gd name="T98" fmla="*/ 285 w 349"/>
                <a:gd name="T99" fmla="*/ 174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49" h="350">
                  <a:moveTo>
                    <a:pt x="301" y="94"/>
                  </a:moveTo>
                  <a:cubicBezTo>
                    <a:pt x="308" y="93"/>
                    <a:pt x="314" y="92"/>
                    <a:pt x="320" y="91"/>
                  </a:cubicBezTo>
                  <a:cubicBezTo>
                    <a:pt x="324" y="90"/>
                    <a:pt x="328" y="92"/>
                    <a:pt x="330" y="96"/>
                  </a:cubicBezTo>
                  <a:cubicBezTo>
                    <a:pt x="332" y="102"/>
                    <a:pt x="335" y="109"/>
                    <a:pt x="337" y="115"/>
                  </a:cubicBezTo>
                  <a:cubicBezTo>
                    <a:pt x="339" y="119"/>
                    <a:pt x="337" y="122"/>
                    <a:pt x="335" y="125"/>
                  </a:cubicBezTo>
                  <a:cubicBezTo>
                    <a:pt x="331" y="128"/>
                    <a:pt x="327" y="130"/>
                    <a:pt x="323" y="133"/>
                  </a:cubicBezTo>
                  <a:cubicBezTo>
                    <a:pt x="317" y="138"/>
                    <a:pt x="316" y="141"/>
                    <a:pt x="317" y="149"/>
                  </a:cubicBezTo>
                  <a:cubicBezTo>
                    <a:pt x="318" y="151"/>
                    <a:pt x="318" y="154"/>
                    <a:pt x="318" y="157"/>
                  </a:cubicBezTo>
                  <a:cubicBezTo>
                    <a:pt x="318" y="168"/>
                    <a:pt x="324" y="173"/>
                    <a:pt x="333" y="176"/>
                  </a:cubicBezTo>
                  <a:cubicBezTo>
                    <a:pt x="335" y="176"/>
                    <a:pt x="336" y="177"/>
                    <a:pt x="338" y="177"/>
                  </a:cubicBezTo>
                  <a:cubicBezTo>
                    <a:pt x="349" y="182"/>
                    <a:pt x="347" y="184"/>
                    <a:pt x="346" y="194"/>
                  </a:cubicBezTo>
                  <a:cubicBezTo>
                    <a:pt x="346" y="199"/>
                    <a:pt x="345" y="203"/>
                    <a:pt x="344" y="208"/>
                  </a:cubicBezTo>
                  <a:cubicBezTo>
                    <a:pt x="343" y="212"/>
                    <a:pt x="340" y="215"/>
                    <a:pt x="336" y="215"/>
                  </a:cubicBezTo>
                  <a:cubicBezTo>
                    <a:pt x="331" y="216"/>
                    <a:pt x="327" y="216"/>
                    <a:pt x="322" y="217"/>
                  </a:cubicBezTo>
                  <a:cubicBezTo>
                    <a:pt x="317" y="217"/>
                    <a:pt x="313" y="220"/>
                    <a:pt x="310" y="225"/>
                  </a:cubicBezTo>
                  <a:cubicBezTo>
                    <a:pt x="309" y="229"/>
                    <a:pt x="308" y="232"/>
                    <a:pt x="306" y="236"/>
                  </a:cubicBezTo>
                  <a:cubicBezTo>
                    <a:pt x="304" y="241"/>
                    <a:pt x="305" y="245"/>
                    <a:pt x="308" y="249"/>
                  </a:cubicBezTo>
                  <a:cubicBezTo>
                    <a:pt x="311" y="253"/>
                    <a:pt x="314" y="256"/>
                    <a:pt x="317" y="260"/>
                  </a:cubicBezTo>
                  <a:cubicBezTo>
                    <a:pt x="321" y="265"/>
                    <a:pt x="321" y="269"/>
                    <a:pt x="317" y="274"/>
                  </a:cubicBezTo>
                  <a:cubicBezTo>
                    <a:pt x="313" y="278"/>
                    <a:pt x="310" y="282"/>
                    <a:pt x="307" y="286"/>
                  </a:cubicBezTo>
                  <a:cubicBezTo>
                    <a:pt x="302" y="292"/>
                    <a:pt x="299" y="292"/>
                    <a:pt x="293" y="289"/>
                  </a:cubicBezTo>
                  <a:cubicBezTo>
                    <a:pt x="288" y="287"/>
                    <a:pt x="284" y="285"/>
                    <a:pt x="279" y="283"/>
                  </a:cubicBezTo>
                  <a:cubicBezTo>
                    <a:pt x="275" y="282"/>
                    <a:pt x="271" y="284"/>
                    <a:pt x="268" y="286"/>
                  </a:cubicBezTo>
                  <a:cubicBezTo>
                    <a:pt x="264" y="289"/>
                    <a:pt x="261" y="291"/>
                    <a:pt x="258" y="294"/>
                  </a:cubicBezTo>
                  <a:cubicBezTo>
                    <a:pt x="254" y="297"/>
                    <a:pt x="253" y="301"/>
                    <a:pt x="254" y="306"/>
                  </a:cubicBezTo>
                  <a:cubicBezTo>
                    <a:pt x="255" y="311"/>
                    <a:pt x="255" y="316"/>
                    <a:pt x="256" y="321"/>
                  </a:cubicBezTo>
                  <a:cubicBezTo>
                    <a:pt x="256" y="326"/>
                    <a:pt x="254" y="329"/>
                    <a:pt x="251" y="330"/>
                  </a:cubicBezTo>
                  <a:cubicBezTo>
                    <a:pt x="245" y="333"/>
                    <a:pt x="239" y="335"/>
                    <a:pt x="233" y="337"/>
                  </a:cubicBezTo>
                  <a:cubicBezTo>
                    <a:pt x="227" y="339"/>
                    <a:pt x="224" y="338"/>
                    <a:pt x="220" y="333"/>
                  </a:cubicBezTo>
                  <a:cubicBezTo>
                    <a:pt x="218" y="329"/>
                    <a:pt x="215" y="325"/>
                    <a:pt x="212" y="322"/>
                  </a:cubicBezTo>
                  <a:cubicBezTo>
                    <a:pt x="209" y="318"/>
                    <a:pt x="205" y="317"/>
                    <a:pt x="201" y="318"/>
                  </a:cubicBezTo>
                  <a:cubicBezTo>
                    <a:pt x="196" y="318"/>
                    <a:pt x="192" y="319"/>
                    <a:pt x="187" y="320"/>
                  </a:cubicBezTo>
                  <a:cubicBezTo>
                    <a:pt x="182" y="321"/>
                    <a:pt x="179" y="324"/>
                    <a:pt x="177" y="328"/>
                  </a:cubicBezTo>
                  <a:cubicBezTo>
                    <a:pt x="175" y="333"/>
                    <a:pt x="173" y="338"/>
                    <a:pt x="171" y="343"/>
                  </a:cubicBezTo>
                  <a:cubicBezTo>
                    <a:pt x="169" y="347"/>
                    <a:pt x="167" y="350"/>
                    <a:pt x="162" y="349"/>
                  </a:cubicBezTo>
                  <a:cubicBezTo>
                    <a:pt x="155" y="348"/>
                    <a:pt x="147" y="348"/>
                    <a:pt x="140" y="346"/>
                  </a:cubicBezTo>
                  <a:cubicBezTo>
                    <a:pt x="137" y="345"/>
                    <a:pt x="135" y="341"/>
                    <a:pt x="134" y="338"/>
                  </a:cubicBezTo>
                  <a:cubicBezTo>
                    <a:pt x="133" y="333"/>
                    <a:pt x="133" y="328"/>
                    <a:pt x="133" y="324"/>
                  </a:cubicBezTo>
                  <a:cubicBezTo>
                    <a:pt x="132" y="318"/>
                    <a:pt x="129" y="313"/>
                    <a:pt x="123" y="312"/>
                  </a:cubicBezTo>
                  <a:cubicBezTo>
                    <a:pt x="119" y="310"/>
                    <a:pt x="116" y="309"/>
                    <a:pt x="113" y="308"/>
                  </a:cubicBezTo>
                  <a:cubicBezTo>
                    <a:pt x="108" y="306"/>
                    <a:pt x="104" y="307"/>
                    <a:pt x="101" y="310"/>
                  </a:cubicBezTo>
                  <a:cubicBezTo>
                    <a:pt x="96" y="314"/>
                    <a:pt x="92" y="317"/>
                    <a:pt x="87" y="321"/>
                  </a:cubicBezTo>
                  <a:cubicBezTo>
                    <a:pt x="84" y="323"/>
                    <a:pt x="81" y="323"/>
                    <a:pt x="78" y="320"/>
                  </a:cubicBezTo>
                  <a:cubicBezTo>
                    <a:pt x="72" y="316"/>
                    <a:pt x="66" y="312"/>
                    <a:pt x="61" y="307"/>
                  </a:cubicBezTo>
                  <a:cubicBezTo>
                    <a:pt x="57" y="304"/>
                    <a:pt x="58" y="299"/>
                    <a:pt x="60" y="295"/>
                  </a:cubicBezTo>
                  <a:cubicBezTo>
                    <a:pt x="62" y="291"/>
                    <a:pt x="63" y="287"/>
                    <a:pt x="65" y="283"/>
                  </a:cubicBezTo>
                  <a:cubicBezTo>
                    <a:pt x="67" y="278"/>
                    <a:pt x="66" y="274"/>
                    <a:pt x="64" y="271"/>
                  </a:cubicBezTo>
                  <a:cubicBezTo>
                    <a:pt x="60" y="266"/>
                    <a:pt x="57" y="262"/>
                    <a:pt x="53" y="258"/>
                  </a:cubicBezTo>
                  <a:cubicBezTo>
                    <a:pt x="51" y="254"/>
                    <a:pt x="47" y="253"/>
                    <a:pt x="43" y="253"/>
                  </a:cubicBezTo>
                  <a:cubicBezTo>
                    <a:pt x="38" y="254"/>
                    <a:pt x="33" y="254"/>
                    <a:pt x="28" y="255"/>
                  </a:cubicBezTo>
                  <a:cubicBezTo>
                    <a:pt x="22" y="257"/>
                    <a:pt x="18" y="255"/>
                    <a:pt x="15" y="249"/>
                  </a:cubicBezTo>
                  <a:cubicBezTo>
                    <a:pt x="13" y="244"/>
                    <a:pt x="10" y="239"/>
                    <a:pt x="8" y="233"/>
                  </a:cubicBezTo>
                  <a:cubicBezTo>
                    <a:pt x="6" y="229"/>
                    <a:pt x="7" y="225"/>
                    <a:pt x="11" y="222"/>
                  </a:cubicBezTo>
                  <a:cubicBezTo>
                    <a:pt x="15" y="218"/>
                    <a:pt x="20" y="214"/>
                    <a:pt x="25" y="211"/>
                  </a:cubicBezTo>
                  <a:cubicBezTo>
                    <a:pt x="29" y="208"/>
                    <a:pt x="30" y="204"/>
                    <a:pt x="30" y="199"/>
                  </a:cubicBezTo>
                  <a:cubicBezTo>
                    <a:pt x="29" y="195"/>
                    <a:pt x="28" y="192"/>
                    <a:pt x="28" y="189"/>
                  </a:cubicBezTo>
                  <a:cubicBezTo>
                    <a:pt x="28" y="180"/>
                    <a:pt x="23" y="176"/>
                    <a:pt x="16" y="174"/>
                  </a:cubicBezTo>
                  <a:cubicBezTo>
                    <a:pt x="13" y="173"/>
                    <a:pt x="10" y="171"/>
                    <a:pt x="7" y="170"/>
                  </a:cubicBezTo>
                  <a:cubicBezTo>
                    <a:pt x="2" y="169"/>
                    <a:pt x="0" y="166"/>
                    <a:pt x="0" y="162"/>
                  </a:cubicBezTo>
                  <a:cubicBezTo>
                    <a:pt x="1" y="155"/>
                    <a:pt x="1" y="149"/>
                    <a:pt x="2" y="142"/>
                  </a:cubicBezTo>
                  <a:cubicBezTo>
                    <a:pt x="2" y="136"/>
                    <a:pt x="5" y="134"/>
                    <a:pt x="11" y="133"/>
                  </a:cubicBezTo>
                  <a:cubicBezTo>
                    <a:pt x="17" y="132"/>
                    <a:pt x="23" y="132"/>
                    <a:pt x="28" y="131"/>
                  </a:cubicBezTo>
                  <a:cubicBezTo>
                    <a:pt x="32" y="130"/>
                    <a:pt x="35" y="128"/>
                    <a:pt x="36" y="124"/>
                  </a:cubicBezTo>
                  <a:cubicBezTo>
                    <a:pt x="38" y="120"/>
                    <a:pt x="40" y="117"/>
                    <a:pt x="41" y="113"/>
                  </a:cubicBezTo>
                  <a:cubicBezTo>
                    <a:pt x="42" y="109"/>
                    <a:pt x="42" y="105"/>
                    <a:pt x="39" y="101"/>
                  </a:cubicBezTo>
                  <a:cubicBezTo>
                    <a:pt x="36" y="97"/>
                    <a:pt x="32" y="93"/>
                    <a:pt x="29" y="88"/>
                  </a:cubicBezTo>
                  <a:cubicBezTo>
                    <a:pt x="26" y="84"/>
                    <a:pt x="26" y="80"/>
                    <a:pt x="29" y="76"/>
                  </a:cubicBezTo>
                  <a:cubicBezTo>
                    <a:pt x="32" y="71"/>
                    <a:pt x="36" y="66"/>
                    <a:pt x="39" y="62"/>
                  </a:cubicBezTo>
                  <a:cubicBezTo>
                    <a:pt x="42" y="57"/>
                    <a:pt x="46" y="56"/>
                    <a:pt x="52" y="58"/>
                  </a:cubicBezTo>
                  <a:cubicBezTo>
                    <a:pt x="57" y="60"/>
                    <a:pt x="62" y="62"/>
                    <a:pt x="66" y="65"/>
                  </a:cubicBezTo>
                  <a:cubicBezTo>
                    <a:pt x="70" y="67"/>
                    <a:pt x="74" y="66"/>
                    <a:pt x="77" y="64"/>
                  </a:cubicBezTo>
                  <a:cubicBezTo>
                    <a:pt x="78" y="63"/>
                    <a:pt x="79" y="63"/>
                    <a:pt x="79" y="62"/>
                  </a:cubicBezTo>
                  <a:cubicBezTo>
                    <a:pt x="94" y="51"/>
                    <a:pt x="94" y="51"/>
                    <a:pt x="90" y="30"/>
                  </a:cubicBezTo>
                  <a:cubicBezTo>
                    <a:pt x="89" y="23"/>
                    <a:pt x="91" y="20"/>
                    <a:pt x="97" y="17"/>
                  </a:cubicBezTo>
                  <a:cubicBezTo>
                    <a:pt x="102" y="15"/>
                    <a:pt x="107" y="13"/>
                    <a:pt x="112" y="11"/>
                  </a:cubicBezTo>
                  <a:cubicBezTo>
                    <a:pt x="117" y="8"/>
                    <a:pt x="120" y="9"/>
                    <a:pt x="124" y="13"/>
                  </a:cubicBezTo>
                  <a:cubicBezTo>
                    <a:pt x="127" y="17"/>
                    <a:pt x="130" y="22"/>
                    <a:pt x="133" y="26"/>
                  </a:cubicBezTo>
                  <a:cubicBezTo>
                    <a:pt x="138" y="31"/>
                    <a:pt x="142" y="32"/>
                    <a:pt x="148" y="31"/>
                  </a:cubicBezTo>
                  <a:cubicBezTo>
                    <a:pt x="152" y="29"/>
                    <a:pt x="156" y="29"/>
                    <a:pt x="160" y="29"/>
                  </a:cubicBezTo>
                  <a:cubicBezTo>
                    <a:pt x="166" y="28"/>
                    <a:pt x="170" y="26"/>
                    <a:pt x="172" y="21"/>
                  </a:cubicBezTo>
                  <a:cubicBezTo>
                    <a:pt x="173" y="16"/>
                    <a:pt x="175" y="11"/>
                    <a:pt x="177" y="6"/>
                  </a:cubicBezTo>
                  <a:cubicBezTo>
                    <a:pt x="179" y="2"/>
                    <a:pt x="182" y="0"/>
                    <a:pt x="187" y="0"/>
                  </a:cubicBezTo>
                  <a:cubicBezTo>
                    <a:pt x="194" y="1"/>
                    <a:pt x="201" y="2"/>
                    <a:pt x="208" y="3"/>
                  </a:cubicBezTo>
                  <a:cubicBezTo>
                    <a:pt x="212" y="3"/>
                    <a:pt x="214" y="6"/>
                    <a:pt x="214" y="11"/>
                  </a:cubicBezTo>
                  <a:cubicBezTo>
                    <a:pt x="215" y="17"/>
                    <a:pt x="216" y="23"/>
                    <a:pt x="217" y="29"/>
                  </a:cubicBezTo>
                  <a:cubicBezTo>
                    <a:pt x="218" y="34"/>
                    <a:pt x="221" y="36"/>
                    <a:pt x="225" y="38"/>
                  </a:cubicBezTo>
                  <a:cubicBezTo>
                    <a:pt x="228" y="39"/>
                    <a:pt x="231" y="40"/>
                    <a:pt x="234" y="41"/>
                  </a:cubicBezTo>
                  <a:cubicBezTo>
                    <a:pt x="239" y="45"/>
                    <a:pt x="244" y="43"/>
                    <a:pt x="248" y="40"/>
                  </a:cubicBezTo>
                  <a:cubicBezTo>
                    <a:pt x="252" y="37"/>
                    <a:pt x="256" y="34"/>
                    <a:pt x="259" y="31"/>
                  </a:cubicBezTo>
                  <a:cubicBezTo>
                    <a:pt x="264" y="27"/>
                    <a:pt x="268" y="27"/>
                    <a:pt x="273" y="31"/>
                  </a:cubicBezTo>
                  <a:cubicBezTo>
                    <a:pt x="277" y="34"/>
                    <a:pt x="281" y="37"/>
                    <a:pt x="285" y="41"/>
                  </a:cubicBezTo>
                  <a:cubicBezTo>
                    <a:pt x="290" y="45"/>
                    <a:pt x="291" y="49"/>
                    <a:pt x="288" y="55"/>
                  </a:cubicBezTo>
                  <a:cubicBezTo>
                    <a:pt x="286" y="59"/>
                    <a:pt x="284" y="64"/>
                    <a:pt x="283" y="68"/>
                  </a:cubicBezTo>
                  <a:cubicBezTo>
                    <a:pt x="282" y="71"/>
                    <a:pt x="282" y="74"/>
                    <a:pt x="283" y="76"/>
                  </a:cubicBezTo>
                  <a:cubicBezTo>
                    <a:pt x="286" y="81"/>
                    <a:pt x="290" y="86"/>
                    <a:pt x="295" y="91"/>
                  </a:cubicBezTo>
                  <a:cubicBezTo>
                    <a:pt x="296" y="93"/>
                    <a:pt x="299" y="93"/>
                    <a:pt x="301" y="94"/>
                  </a:cubicBezTo>
                  <a:close/>
                  <a:moveTo>
                    <a:pt x="174" y="63"/>
                  </a:moveTo>
                  <a:cubicBezTo>
                    <a:pt x="112" y="63"/>
                    <a:pt x="62" y="113"/>
                    <a:pt x="62" y="174"/>
                  </a:cubicBezTo>
                  <a:cubicBezTo>
                    <a:pt x="62" y="236"/>
                    <a:pt x="112" y="285"/>
                    <a:pt x="173" y="286"/>
                  </a:cubicBezTo>
                  <a:cubicBezTo>
                    <a:pt x="235" y="286"/>
                    <a:pt x="285" y="236"/>
                    <a:pt x="285" y="174"/>
                  </a:cubicBezTo>
                  <a:cubicBezTo>
                    <a:pt x="285" y="112"/>
                    <a:pt x="234" y="63"/>
                    <a:pt x="174" y="63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16274" tIns="8138" rIns="16274" bIns="8138" numCol="1" anchor="t" anchorCtr="0" compatLnSpc="1">
              <a:prstTxWarp prst="textNoShape">
                <a:avLst/>
              </a:prstTxWarp>
            </a:bodyPr>
            <a:lstStyle/>
            <a:p>
              <a:endParaRPr lang="en-US" sz="569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5"/>
            <p:cNvSpPr>
              <a:spLocks noEditPoints="1"/>
            </p:cNvSpPr>
            <p:nvPr/>
          </p:nvSpPr>
          <p:spPr bwMode="auto">
            <a:xfrm>
              <a:off x="4504951" y="3813601"/>
              <a:ext cx="1342301" cy="592530"/>
            </a:xfrm>
            <a:custGeom>
              <a:avLst/>
              <a:gdLst>
                <a:gd name="T0" fmla="*/ 320 w 349"/>
                <a:gd name="T1" fmla="*/ 91 h 350"/>
                <a:gd name="T2" fmla="*/ 337 w 349"/>
                <a:gd name="T3" fmla="*/ 115 h 350"/>
                <a:gd name="T4" fmla="*/ 323 w 349"/>
                <a:gd name="T5" fmla="*/ 133 h 350"/>
                <a:gd name="T6" fmla="*/ 318 w 349"/>
                <a:gd name="T7" fmla="*/ 157 h 350"/>
                <a:gd name="T8" fmla="*/ 338 w 349"/>
                <a:gd name="T9" fmla="*/ 177 h 350"/>
                <a:gd name="T10" fmla="*/ 344 w 349"/>
                <a:gd name="T11" fmla="*/ 208 h 350"/>
                <a:gd name="T12" fmla="*/ 322 w 349"/>
                <a:gd name="T13" fmla="*/ 217 h 350"/>
                <a:gd name="T14" fmla="*/ 306 w 349"/>
                <a:gd name="T15" fmla="*/ 236 h 350"/>
                <a:gd name="T16" fmla="*/ 317 w 349"/>
                <a:gd name="T17" fmla="*/ 260 h 350"/>
                <a:gd name="T18" fmla="*/ 307 w 349"/>
                <a:gd name="T19" fmla="*/ 286 h 350"/>
                <a:gd name="T20" fmla="*/ 279 w 349"/>
                <a:gd name="T21" fmla="*/ 283 h 350"/>
                <a:gd name="T22" fmla="*/ 258 w 349"/>
                <a:gd name="T23" fmla="*/ 294 h 350"/>
                <a:gd name="T24" fmla="*/ 256 w 349"/>
                <a:gd name="T25" fmla="*/ 321 h 350"/>
                <a:gd name="T26" fmla="*/ 233 w 349"/>
                <a:gd name="T27" fmla="*/ 337 h 350"/>
                <a:gd name="T28" fmla="*/ 212 w 349"/>
                <a:gd name="T29" fmla="*/ 322 h 350"/>
                <a:gd name="T30" fmla="*/ 187 w 349"/>
                <a:gd name="T31" fmla="*/ 320 h 350"/>
                <a:gd name="T32" fmla="*/ 171 w 349"/>
                <a:gd name="T33" fmla="*/ 343 h 350"/>
                <a:gd name="T34" fmla="*/ 140 w 349"/>
                <a:gd name="T35" fmla="*/ 346 h 350"/>
                <a:gd name="T36" fmla="*/ 133 w 349"/>
                <a:gd name="T37" fmla="*/ 324 h 350"/>
                <a:gd name="T38" fmla="*/ 113 w 349"/>
                <a:gd name="T39" fmla="*/ 308 h 350"/>
                <a:gd name="T40" fmla="*/ 87 w 349"/>
                <a:gd name="T41" fmla="*/ 321 h 350"/>
                <a:gd name="T42" fmla="*/ 61 w 349"/>
                <a:gd name="T43" fmla="*/ 307 h 350"/>
                <a:gd name="T44" fmla="*/ 65 w 349"/>
                <a:gd name="T45" fmla="*/ 283 h 350"/>
                <a:gd name="T46" fmla="*/ 53 w 349"/>
                <a:gd name="T47" fmla="*/ 258 h 350"/>
                <a:gd name="T48" fmla="*/ 28 w 349"/>
                <a:gd name="T49" fmla="*/ 255 h 350"/>
                <a:gd name="T50" fmla="*/ 8 w 349"/>
                <a:gd name="T51" fmla="*/ 233 h 350"/>
                <a:gd name="T52" fmla="*/ 25 w 349"/>
                <a:gd name="T53" fmla="*/ 211 h 350"/>
                <a:gd name="T54" fmla="*/ 28 w 349"/>
                <a:gd name="T55" fmla="*/ 189 h 350"/>
                <a:gd name="T56" fmla="*/ 7 w 349"/>
                <a:gd name="T57" fmla="*/ 170 h 350"/>
                <a:gd name="T58" fmla="*/ 2 w 349"/>
                <a:gd name="T59" fmla="*/ 142 h 350"/>
                <a:gd name="T60" fmla="*/ 28 w 349"/>
                <a:gd name="T61" fmla="*/ 131 h 350"/>
                <a:gd name="T62" fmla="*/ 41 w 349"/>
                <a:gd name="T63" fmla="*/ 113 h 350"/>
                <a:gd name="T64" fmla="*/ 29 w 349"/>
                <a:gd name="T65" fmla="*/ 88 h 350"/>
                <a:gd name="T66" fmla="*/ 39 w 349"/>
                <a:gd name="T67" fmla="*/ 62 h 350"/>
                <a:gd name="T68" fmla="*/ 66 w 349"/>
                <a:gd name="T69" fmla="*/ 65 h 350"/>
                <a:gd name="T70" fmla="*/ 79 w 349"/>
                <a:gd name="T71" fmla="*/ 62 h 350"/>
                <a:gd name="T72" fmla="*/ 97 w 349"/>
                <a:gd name="T73" fmla="*/ 17 h 350"/>
                <a:gd name="T74" fmla="*/ 124 w 349"/>
                <a:gd name="T75" fmla="*/ 13 h 350"/>
                <a:gd name="T76" fmla="*/ 148 w 349"/>
                <a:gd name="T77" fmla="*/ 31 h 350"/>
                <a:gd name="T78" fmla="*/ 172 w 349"/>
                <a:gd name="T79" fmla="*/ 21 h 350"/>
                <a:gd name="T80" fmla="*/ 187 w 349"/>
                <a:gd name="T81" fmla="*/ 0 h 350"/>
                <a:gd name="T82" fmla="*/ 214 w 349"/>
                <a:gd name="T83" fmla="*/ 11 h 350"/>
                <a:gd name="T84" fmla="*/ 225 w 349"/>
                <a:gd name="T85" fmla="*/ 38 h 350"/>
                <a:gd name="T86" fmla="*/ 248 w 349"/>
                <a:gd name="T87" fmla="*/ 40 h 350"/>
                <a:gd name="T88" fmla="*/ 273 w 349"/>
                <a:gd name="T89" fmla="*/ 31 h 350"/>
                <a:gd name="T90" fmla="*/ 288 w 349"/>
                <a:gd name="T91" fmla="*/ 55 h 350"/>
                <a:gd name="T92" fmla="*/ 283 w 349"/>
                <a:gd name="T93" fmla="*/ 76 h 350"/>
                <a:gd name="T94" fmla="*/ 301 w 349"/>
                <a:gd name="T95" fmla="*/ 94 h 350"/>
                <a:gd name="T96" fmla="*/ 62 w 349"/>
                <a:gd name="T97" fmla="*/ 174 h 350"/>
                <a:gd name="T98" fmla="*/ 285 w 349"/>
                <a:gd name="T99" fmla="*/ 174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49" h="350">
                  <a:moveTo>
                    <a:pt x="301" y="94"/>
                  </a:moveTo>
                  <a:cubicBezTo>
                    <a:pt x="308" y="93"/>
                    <a:pt x="314" y="92"/>
                    <a:pt x="320" y="91"/>
                  </a:cubicBezTo>
                  <a:cubicBezTo>
                    <a:pt x="324" y="90"/>
                    <a:pt x="328" y="92"/>
                    <a:pt x="330" y="96"/>
                  </a:cubicBezTo>
                  <a:cubicBezTo>
                    <a:pt x="332" y="102"/>
                    <a:pt x="335" y="109"/>
                    <a:pt x="337" y="115"/>
                  </a:cubicBezTo>
                  <a:cubicBezTo>
                    <a:pt x="339" y="119"/>
                    <a:pt x="337" y="122"/>
                    <a:pt x="335" y="125"/>
                  </a:cubicBezTo>
                  <a:cubicBezTo>
                    <a:pt x="331" y="128"/>
                    <a:pt x="327" y="130"/>
                    <a:pt x="323" y="133"/>
                  </a:cubicBezTo>
                  <a:cubicBezTo>
                    <a:pt x="317" y="138"/>
                    <a:pt x="316" y="141"/>
                    <a:pt x="317" y="149"/>
                  </a:cubicBezTo>
                  <a:cubicBezTo>
                    <a:pt x="318" y="151"/>
                    <a:pt x="318" y="154"/>
                    <a:pt x="318" y="157"/>
                  </a:cubicBezTo>
                  <a:cubicBezTo>
                    <a:pt x="318" y="168"/>
                    <a:pt x="324" y="173"/>
                    <a:pt x="333" y="176"/>
                  </a:cubicBezTo>
                  <a:cubicBezTo>
                    <a:pt x="335" y="176"/>
                    <a:pt x="336" y="177"/>
                    <a:pt x="338" y="177"/>
                  </a:cubicBezTo>
                  <a:cubicBezTo>
                    <a:pt x="349" y="182"/>
                    <a:pt x="347" y="184"/>
                    <a:pt x="346" y="194"/>
                  </a:cubicBezTo>
                  <a:cubicBezTo>
                    <a:pt x="346" y="199"/>
                    <a:pt x="345" y="203"/>
                    <a:pt x="344" y="208"/>
                  </a:cubicBezTo>
                  <a:cubicBezTo>
                    <a:pt x="343" y="212"/>
                    <a:pt x="340" y="215"/>
                    <a:pt x="336" y="215"/>
                  </a:cubicBezTo>
                  <a:cubicBezTo>
                    <a:pt x="331" y="216"/>
                    <a:pt x="327" y="216"/>
                    <a:pt x="322" y="217"/>
                  </a:cubicBezTo>
                  <a:cubicBezTo>
                    <a:pt x="317" y="217"/>
                    <a:pt x="313" y="220"/>
                    <a:pt x="310" y="225"/>
                  </a:cubicBezTo>
                  <a:cubicBezTo>
                    <a:pt x="309" y="229"/>
                    <a:pt x="308" y="232"/>
                    <a:pt x="306" y="236"/>
                  </a:cubicBezTo>
                  <a:cubicBezTo>
                    <a:pt x="304" y="241"/>
                    <a:pt x="305" y="245"/>
                    <a:pt x="308" y="249"/>
                  </a:cubicBezTo>
                  <a:cubicBezTo>
                    <a:pt x="311" y="253"/>
                    <a:pt x="314" y="256"/>
                    <a:pt x="317" y="260"/>
                  </a:cubicBezTo>
                  <a:cubicBezTo>
                    <a:pt x="321" y="265"/>
                    <a:pt x="321" y="269"/>
                    <a:pt x="317" y="274"/>
                  </a:cubicBezTo>
                  <a:cubicBezTo>
                    <a:pt x="313" y="278"/>
                    <a:pt x="310" y="282"/>
                    <a:pt x="307" y="286"/>
                  </a:cubicBezTo>
                  <a:cubicBezTo>
                    <a:pt x="302" y="292"/>
                    <a:pt x="299" y="292"/>
                    <a:pt x="293" y="289"/>
                  </a:cubicBezTo>
                  <a:cubicBezTo>
                    <a:pt x="288" y="287"/>
                    <a:pt x="284" y="285"/>
                    <a:pt x="279" y="283"/>
                  </a:cubicBezTo>
                  <a:cubicBezTo>
                    <a:pt x="275" y="282"/>
                    <a:pt x="271" y="284"/>
                    <a:pt x="268" y="286"/>
                  </a:cubicBezTo>
                  <a:cubicBezTo>
                    <a:pt x="264" y="289"/>
                    <a:pt x="261" y="291"/>
                    <a:pt x="258" y="294"/>
                  </a:cubicBezTo>
                  <a:cubicBezTo>
                    <a:pt x="254" y="297"/>
                    <a:pt x="253" y="301"/>
                    <a:pt x="254" y="306"/>
                  </a:cubicBezTo>
                  <a:cubicBezTo>
                    <a:pt x="255" y="311"/>
                    <a:pt x="255" y="316"/>
                    <a:pt x="256" y="321"/>
                  </a:cubicBezTo>
                  <a:cubicBezTo>
                    <a:pt x="256" y="326"/>
                    <a:pt x="254" y="329"/>
                    <a:pt x="251" y="330"/>
                  </a:cubicBezTo>
                  <a:cubicBezTo>
                    <a:pt x="245" y="333"/>
                    <a:pt x="239" y="335"/>
                    <a:pt x="233" y="337"/>
                  </a:cubicBezTo>
                  <a:cubicBezTo>
                    <a:pt x="227" y="339"/>
                    <a:pt x="224" y="338"/>
                    <a:pt x="220" y="333"/>
                  </a:cubicBezTo>
                  <a:cubicBezTo>
                    <a:pt x="218" y="329"/>
                    <a:pt x="215" y="325"/>
                    <a:pt x="212" y="322"/>
                  </a:cubicBezTo>
                  <a:cubicBezTo>
                    <a:pt x="209" y="318"/>
                    <a:pt x="205" y="317"/>
                    <a:pt x="201" y="318"/>
                  </a:cubicBezTo>
                  <a:cubicBezTo>
                    <a:pt x="196" y="318"/>
                    <a:pt x="192" y="319"/>
                    <a:pt x="187" y="320"/>
                  </a:cubicBezTo>
                  <a:cubicBezTo>
                    <a:pt x="182" y="321"/>
                    <a:pt x="179" y="324"/>
                    <a:pt x="177" y="328"/>
                  </a:cubicBezTo>
                  <a:cubicBezTo>
                    <a:pt x="175" y="333"/>
                    <a:pt x="173" y="338"/>
                    <a:pt x="171" y="343"/>
                  </a:cubicBezTo>
                  <a:cubicBezTo>
                    <a:pt x="169" y="347"/>
                    <a:pt x="167" y="350"/>
                    <a:pt x="162" y="349"/>
                  </a:cubicBezTo>
                  <a:cubicBezTo>
                    <a:pt x="155" y="348"/>
                    <a:pt x="147" y="348"/>
                    <a:pt x="140" y="346"/>
                  </a:cubicBezTo>
                  <a:cubicBezTo>
                    <a:pt x="137" y="345"/>
                    <a:pt x="135" y="341"/>
                    <a:pt x="134" y="338"/>
                  </a:cubicBezTo>
                  <a:cubicBezTo>
                    <a:pt x="133" y="333"/>
                    <a:pt x="133" y="328"/>
                    <a:pt x="133" y="324"/>
                  </a:cubicBezTo>
                  <a:cubicBezTo>
                    <a:pt x="132" y="318"/>
                    <a:pt x="129" y="313"/>
                    <a:pt x="123" y="312"/>
                  </a:cubicBezTo>
                  <a:cubicBezTo>
                    <a:pt x="119" y="310"/>
                    <a:pt x="116" y="309"/>
                    <a:pt x="113" y="308"/>
                  </a:cubicBezTo>
                  <a:cubicBezTo>
                    <a:pt x="108" y="306"/>
                    <a:pt x="104" y="307"/>
                    <a:pt x="101" y="310"/>
                  </a:cubicBezTo>
                  <a:cubicBezTo>
                    <a:pt x="96" y="314"/>
                    <a:pt x="92" y="317"/>
                    <a:pt x="87" y="321"/>
                  </a:cubicBezTo>
                  <a:cubicBezTo>
                    <a:pt x="84" y="323"/>
                    <a:pt x="81" y="323"/>
                    <a:pt x="78" y="320"/>
                  </a:cubicBezTo>
                  <a:cubicBezTo>
                    <a:pt x="72" y="316"/>
                    <a:pt x="66" y="312"/>
                    <a:pt x="61" y="307"/>
                  </a:cubicBezTo>
                  <a:cubicBezTo>
                    <a:pt x="57" y="304"/>
                    <a:pt x="58" y="299"/>
                    <a:pt x="60" y="295"/>
                  </a:cubicBezTo>
                  <a:cubicBezTo>
                    <a:pt x="62" y="291"/>
                    <a:pt x="63" y="287"/>
                    <a:pt x="65" y="283"/>
                  </a:cubicBezTo>
                  <a:cubicBezTo>
                    <a:pt x="67" y="278"/>
                    <a:pt x="66" y="274"/>
                    <a:pt x="64" y="271"/>
                  </a:cubicBezTo>
                  <a:cubicBezTo>
                    <a:pt x="60" y="266"/>
                    <a:pt x="57" y="262"/>
                    <a:pt x="53" y="258"/>
                  </a:cubicBezTo>
                  <a:cubicBezTo>
                    <a:pt x="51" y="254"/>
                    <a:pt x="47" y="253"/>
                    <a:pt x="43" y="253"/>
                  </a:cubicBezTo>
                  <a:cubicBezTo>
                    <a:pt x="38" y="254"/>
                    <a:pt x="33" y="254"/>
                    <a:pt x="28" y="255"/>
                  </a:cubicBezTo>
                  <a:cubicBezTo>
                    <a:pt x="22" y="257"/>
                    <a:pt x="18" y="255"/>
                    <a:pt x="15" y="249"/>
                  </a:cubicBezTo>
                  <a:cubicBezTo>
                    <a:pt x="13" y="244"/>
                    <a:pt x="10" y="239"/>
                    <a:pt x="8" y="233"/>
                  </a:cubicBezTo>
                  <a:cubicBezTo>
                    <a:pt x="6" y="229"/>
                    <a:pt x="7" y="225"/>
                    <a:pt x="11" y="222"/>
                  </a:cubicBezTo>
                  <a:cubicBezTo>
                    <a:pt x="15" y="218"/>
                    <a:pt x="20" y="214"/>
                    <a:pt x="25" y="211"/>
                  </a:cubicBezTo>
                  <a:cubicBezTo>
                    <a:pt x="29" y="208"/>
                    <a:pt x="30" y="204"/>
                    <a:pt x="30" y="199"/>
                  </a:cubicBezTo>
                  <a:cubicBezTo>
                    <a:pt x="29" y="195"/>
                    <a:pt x="28" y="192"/>
                    <a:pt x="28" y="189"/>
                  </a:cubicBezTo>
                  <a:cubicBezTo>
                    <a:pt x="28" y="180"/>
                    <a:pt x="23" y="176"/>
                    <a:pt x="16" y="174"/>
                  </a:cubicBezTo>
                  <a:cubicBezTo>
                    <a:pt x="13" y="173"/>
                    <a:pt x="10" y="171"/>
                    <a:pt x="7" y="170"/>
                  </a:cubicBezTo>
                  <a:cubicBezTo>
                    <a:pt x="2" y="169"/>
                    <a:pt x="0" y="166"/>
                    <a:pt x="0" y="162"/>
                  </a:cubicBezTo>
                  <a:cubicBezTo>
                    <a:pt x="1" y="155"/>
                    <a:pt x="1" y="149"/>
                    <a:pt x="2" y="142"/>
                  </a:cubicBezTo>
                  <a:cubicBezTo>
                    <a:pt x="2" y="136"/>
                    <a:pt x="5" y="134"/>
                    <a:pt x="11" y="133"/>
                  </a:cubicBezTo>
                  <a:cubicBezTo>
                    <a:pt x="17" y="132"/>
                    <a:pt x="23" y="132"/>
                    <a:pt x="28" y="131"/>
                  </a:cubicBezTo>
                  <a:cubicBezTo>
                    <a:pt x="32" y="130"/>
                    <a:pt x="35" y="128"/>
                    <a:pt x="36" y="124"/>
                  </a:cubicBezTo>
                  <a:cubicBezTo>
                    <a:pt x="38" y="120"/>
                    <a:pt x="40" y="117"/>
                    <a:pt x="41" y="113"/>
                  </a:cubicBezTo>
                  <a:cubicBezTo>
                    <a:pt x="42" y="109"/>
                    <a:pt x="42" y="105"/>
                    <a:pt x="39" y="101"/>
                  </a:cubicBezTo>
                  <a:cubicBezTo>
                    <a:pt x="36" y="97"/>
                    <a:pt x="32" y="93"/>
                    <a:pt x="29" y="88"/>
                  </a:cubicBezTo>
                  <a:cubicBezTo>
                    <a:pt x="26" y="84"/>
                    <a:pt x="26" y="80"/>
                    <a:pt x="29" y="76"/>
                  </a:cubicBezTo>
                  <a:cubicBezTo>
                    <a:pt x="32" y="71"/>
                    <a:pt x="36" y="66"/>
                    <a:pt x="39" y="62"/>
                  </a:cubicBezTo>
                  <a:cubicBezTo>
                    <a:pt x="42" y="57"/>
                    <a:pt x="46" y="56"/>
                    <a:pt x="52" y="58"/>
                  </a:cubicBezTo>
                  <a:cubicBezTo>
                    <a:pt x="57" y="60"/>
                    <a:pt x="62" y="62"/>
                    <a:pt x="66" y="65"/>
                  </a:cubicBezTo>
                  <a:cubicBezTo>
                    <a:pt x="70" y="67"/>
                    <a:pt x="74" y="66"/>
                    <a:pt x="77" y="64"/>
                  </a:cubicBezTo>
                  <a:cubicBezTo>
                    <a:pt x="78" y="63"/>
                    <a:pt x="79" y="63"/>
                    <a:pt x="79" y="62"/>
                  </a:cubicBezTo>
                  <a:cubicBezTo>
                    <a:pt x="94" y="51"/>
                    <a:pt x="94" y="51"/>
                    <a:pt x="90" y="30"/>
                  </a:cubicBezTo>
                  <a:cubicBezTo>
                    <a:pt x="89" y="23"/>
                    <a:pt x="91" y="20"/>
                    <a:pt x="97" y="17"/>
                  </a:cubicBezTo>
                  <a:cubicBezTo>
                    <a:pt x="102" y="15"/>
                    <a:pt x="107" y="13"/>
                    <a:pt x="112" y="11"/>
                  </a:cubicBezTo>
                  <a:cubicBezTo>
                    <a:pt x="117" y="8"/>
                    <a:pt x="120" y="9"/>
                    <a:pt x="124" y="13"/>
                  </a:cubicBezTo>
                  <a:cubicBezTo>
                    <a:pt x="127" y="17"/>
                    <a:pt x="130" y="22"/>
                    <a:pt x="133" y="26"/>
                  </a:cubicBezTo>
                  <a:cubicBezTo>
                    <a:pt x="138" y="31"/>
                    <a:pt x="142" y="32"/>
                    <a:pt x="148" y="31"/>
                  </a:cubicBezTo>
                  <a:cubicBezTo>
                    <a:pt x="152" y="29"/>
                    <a:pt x="156" y="29"/>
                    <a:pt x="160" y="29"/>
                  </a:cubicBezTo>
                  <a:cubicBezTo>
                    <a:pt x="166" y="28"/>
                    <a:pt x="170" y="26"/>
                    <a:pt x="172" y="21"/>
                  </a:cubicBezTo>
                  <a:cubicBezTo>
                    <a:pt x="173" y="16"/>
                    <a:pt x="175" y="11"/>
                    <a:pt x="177" y="6"/>
                  </a:cubicBezTo>
                  <a:cubicBezTo>
                    <a:pt x="179" y="2"/>
                    <a:pt x="182" y="0"/>
                    <a:pt x="187" y="0"/>
                  </a:cubicBezTo>
                  <a:cubicBezTo>
                    <a:pt x="194" y="1"/>
                    <a:pt x="201" y="2"/>
                    <a:pt x="208" y="3"/>
                  </a:cubicBezTo>
                  <a:cubicBezTo>
                    <a:pt x="212" y="3"/>
                    <a:pt x="214" y="6"/>
                    <a:pt x="214" y="11"/>
                  </a:cubicBezTo>
                  <a:cubicBezTo>
                    <a:pt x="215" y="17"/>
                    <a:pt x="216" y="23"/>
                    <a:pt x="217" y="29"/>
                  </a:cubicBezTo>
                  <a:cubicBezTo>
                    <a:pt x="218" y="34"/>
                    <a:pt x="221" y="36"/>
                    <a:pt x="225" y="38"/>
                  </a:cubicBezTo>
                  <a:cubicBezTo>
                    <a:pt x="228" y="39"/>
                    <a:pt x="231" y="40"/>
                    <a:pt x="234" y="41"/>
                  </a:cubicBezTo>
                  <a:cubicBezTo>
                    <a:pt x="239" y="45"/>
                    <a:pt x="244" y="43"/>
                    <a:pt x="248" y="40"/>
                  </a:cubicBezTo>
                  <a:cubicBezTo>
                    <a:pt x="252" y="37"/>
                    <a:pt x="256" y="34"/>
                    <a:pt x="259" y="31"/>
                  </a:cubicBezTo>
                  <a:cubicBezTo>
                    <a:pt x="264" y="27"/>
                    <a:pt x="268" y="27"/>
                    <a:pt x="273" y="31"/>
                  </a:cubicBezTo>
                  <a:cubicBezTo>
                    <a:pt x="277" y="34"/>
                    <a:pt x="281" y="37"/>
                    <a:pt x="285" y="41"/>
                  </a:cubicBezTo>
                  <a:cubicBezTo>
                    <a:pt x="290" y="45"/>
                    <a:pt x="291" y="49"/>
                    <a:pt x="288" y="55"/>
                  </a:cubicBezTo>
                  <a:cubicBezTo>
                    <a:pt x="286" y="59"/>
                    <a:pt x="284" y="64"/>
                    <a:pt x="283" y="68"/>
                  </a:cubicBezTo>
                  <a:cubicBezTo>
                    <a:pt x="282" y="71"/>
                    <a:pt x="282" y="74"/>
                    <a:pt x="283" y="76"/>
                  </a:cubicBezTo>
                  <a:cubicBezTo>
                    <a:pt x="286" y="81"/>
                    <a:pt x="290" y="86"/>
                    <a:pt x="295" y="91"/>
                  </a:cubicBezTo>
                  <a:cubicBezTo>
                    <a:pt x="296" y="93"/>
                    <a:pt x="299" y="93"/>
                    <a:pt x="301" y="94"/>
                  </a:cubicBezTo>
                  <a:close/>
                  <a:moveTo>
                    <a:pt x="174" y="63"/>
                  </a:moveTo>
                  <a:cubicBezTo>
                    <a:pt x="112" y="63"/>
                    <a:pt x="62" y="113"/>
                    <a:pt x="62" y="174"/>
                  </a:cubicBezTo>
                  <a:cubicBezTo>
                    <a:pt x="62" y="236"/>
                    <a:pt x="112" y="285"/>
                    <a:pt x="173" y="286"/>
                  </a:cubicBezTo>
                  <a:cubicBezTo>
                    <a:pt x="235" y="286"/>
                    <a:pt x="285" y="236"/>
                    <a:pt x="285" y="174"/>
                  </a:cubicBezTo>
                  <a:cubicBezTo>
                    <a:pt x="285" y="112"/>
                    <a:pt x="234" y="63"/>
                    <a:pt x="174" y="63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txBody>
            <a:bodyPr vert="horz" wrap="square" lIns="16274" tIns="8138" rIns="16274" bIns="8138" numCol="1" anchor="t" anchorCtr="0" compatLnSpc="1">
              <a:prstTxWarp prst="textNoShape">
                <a:avLst/>
              </a:prstTxWarp>
            </a:bodyPr>
            <a:lstStyle/>
            <a:p>
              <a:endParaRPr lang="en-US" sz="569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5"/>
            <p:cNvSpPr>
              <a:spLocks noEditPoints="1"/>
            </p:cNvSpPr>
            <p:nvPr/>
          </p:nvSpPr>
          <p:spPr bwMode="auto">
            <a:xfrm>
              <a:off x="6786892" y="3326859"/>
              <a:ext cx="1783203" cy="777881"/>
            </a:xfrm>
            <a:custGeom>
              <a:avLst/>
              <a:gdLst>
                <a:gd name="T0" fmla="*/ 320 w 349"/>
                <a:gd name="T1" fmla="*/ 91 h 350"/>
                <a:gd name="T2" fmla="*/ 337 w 349"/>
                <a:gd name="T3" fmla="*/ 115 h 350"/>
                <a:gd name="T4" fmla="*/ 323 w 349"/>
                <a:gd name="T5" fmla="*/ 133 h 350"/>
                <a:gd name="T6" fmla="*/ 318 w 349"/>
                <a:gd name="T7" fmla="*/ 157 h 350"/>
                <a:gd name="T8" fmla="*/ 338 w 349"/>
                <a:gd name="T9" fmla="*/ 177 h 350"/>
                <a:gd name="T10" fmla="*/ 344 w 349"/>
                <a:gd name="T11" fmla="*/ 208 h 350"/>
                <a:gd name="T12" fmla="*/ 322 w 349"/>
                <a:gd name="T13" fmla="*/ 217 h 350"/>
                <a:gd name="T14" fmla="*/ 306 w 349"/>
                <a:gd name="T15" fmla="*/ 236 h 350"/>
                <a:gd name="T16" fmla="*/ 317 w 349"/>
                <a:gd name="T17" fmla="*/ 260 h 350"/>
                <a:gd name="T18" fmla="*/ 307 w 349"/>
                <a:gd name="T19" fmla="*/ 286 h 350"/>
                <a:gd name="T20" fmla="*/ 279 w 349"/>
                <a:gd name="T21" fmla="*/ 283 h 350"/>
                <a:gd name="T22" fmla="*/ 258 w 349"/>
                <a:gd name="T23" fmla="*/ 294 h 350"/>
                <a:gd name="T24" fmla="*/ 256 w 349"/>
                <a:gd name="T25" fmla="*/ 321 h 350"/>
                <a:gd name="T26" fmla="*/ 233 w 349"/>
                <a:gd name="T27" fmla="*/ 337 h 350"/>
                <a:gd name="T28" fmla="*/ 212 w 349"/>
                <a:gd name="T29" fmla="*/ 322 h 350"/>
                <a:gd name="T30" fmla="*/ 187 w 349"/>
                <a:gd name="T31" fmla="*/ 320 h 350"/>
                <a:gd name="T32" fmla="*/ 171 w 349"/>
                <a:gd name="T33" fmla="*/ 343 h 350"/>
                <a:gd name="T34" fmla="*/ 140 w 349"/>
                <a:gd name="T35" fmla="*/ 346 h 350"/>
                <a:gd name="T36" fmla="*/ 133 w 349"/>
                <a:gd name="T37" fmla="*/ 324 h 350"/>
                <a:gd name="T38" fmla="*/ 113 w 349"/>
                <a:gd name="T39" fmla="*/ 308 h 350"/>
                <a:gd name="T40" fmla="*/ 87 w 349"/>
                <a:gd name="T41" fmla="*/ 321 h 350"/>
                <a:gd name="T42" fmla="*/ 61 w 349"/>
                <a:gd name="T43" fmla="*/ 307 h 350"/>
                <a:gd name="T44" fmla="*/ 65 w 349"/>
                <a:gd name="T45" fmla="*/ 283 h 350"/>
                <a:gd name="T46" fmla="*/ 53 w 349"/>
                <a:gd name="T47" fmla="*/ 258 h 350"/>
                <a:gd name="T48" fmla="*/ 28 w 349"/>
                <a:gd name="T49" fmla="*/ 255 h 350"/>
                <a:gd name="T50" fmla="*/ 8 w 349"/>
                <a:gd name="T51" fmla="*/ 233 h 350"/>
                <a:gd name="T52" fmla="*/ 25 w 349"/>
                <a:gd name="T53" fmla="*/ 211 h 350"/>
                <a:gd name="T54" fmla="*/ 28 w 349"/>
                <a:gd name="T55" fmla="*/ 189 h 350"/>
                <a:gd name="T56" fmla="*/ 7 w 349"/>
                <a:gd name="T57" fmla="*/ 170 h 350"/>
                <a:gd name="T58" fmla="*/ 2 w 349"/>
                <a:gd name="T59" fmla="*/ 142 h 350"/>
                <a:gd name="T60" fmla="*/ 28 w 349"/>
                <a:gd name="T61" fmla="*/ 131 h 350"/>
                <a:gd name="T62" fmla="*/ 41 w 349"/>
                <a:gd name="T63" fmla="*/ 113 h 350"/>
                <a:gd name="T64" fmla="*/ 29 w 349"/>
                <a:gd name="T65" fmla="*/ 88 h 350"/>
                <a:gd name="T66" fmla="*/ 39 w 349"/>
                <a:gd name="T67" fmla="*/ 62 h 350"/>
                <a:gd name="T68" fmla="*/ 66 w 349"/>
                <a:gd name="T69" fmla="*/ 65 h 350"/>
                <a:gd name="T70" fmla="*/ 79 w 349"/>
                <a:gd name="T71" fmla="*/ 62 h 350"/>
                <a:gd name="T72" fmla="*/ 97 w 349"/>
                <a:gd name="T73" fmla="*/ 17 h 350"/>
                <a:gd name="T74" fmla="*/ 124 w 349"/>
                <a:gd name="T75" fmla="*/ 13 h 350"/>
                <a:gd name="T76" fmla="*/ 148 w 349"/>
                <a:gd name="T77" fmla="*/ 31 h 350"/>
                <a:gd name="T78" fmla="*/ 172 w 349"/>
                <a:gd name="T79" fmla="*/ 21 h 350"/>
                <a:gd name="T80" fmla="*/ 187 w 349"/>
                <a:gd name="T81" fmla="*/ 0 h 350"/>
                <a:gd name="T82" fmla="*/ 214 w 349"/>
                <a:gd name="T83" fmla="*/ 11 h 350"/>
                <a:gd name="T84" fmla="*/ 225 w 349"/>
                <a:gd name="T85" fmla="*/ 38 h 350"/>
                <a:gd name="T86" fmla="*/ 248 w 349"/>
                <a:gd name="T87" fmla="*/ 40 h 350"/>
                <a:gd name="T88" fmla="*/ 273 w 349"/>
                <a:gd name="T89" fmla="*/ 31 h 350"/>
                <a:gd name="T90" fmla="*/ 288 w 349"/>
                <a:gd name="T91" fmla="*/ 55 h 350"/>
                <a:gd name="T92" fmla="*/ 283 w 349"/>
                <a:gd name="T93" fmla="*/ 76 h 350"/>
                <a:gd name="T94" fmla="*/ 301 w 349"/>
                <a:gd name="T95" fmla="*/ 94 h 350"/>
                <a:gd name="T96" fmla="*/ 62 w 349"/>
                <a:gd name="T97" fmla="*/ 174 h 350"/>
                <a:gd name="T98" fmla="*/ 285 w 349"/>
                <a:gd name="T99" fmla="*/ 174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49" h="350">
                  <a:moveTo>
                    <a:pt x="301" y="94"/>
                  </a:moveTo>
                  <a:cubicBezTo>
                    <a:pt x="308" y="93"/>
                    <a:pt x="314" y="92"/>
                    <a:pt x="320" y="91"/>
                  </a:cubicBezTo>
                  <a:cubicBezTo>
                    <a:pt x="324" y="90"/>
                    <a:pt x="328" y="92"/>
                    <a:pt x="330" y="96"/>
                  </a:cubicBezTo>
                  <a:cubicBezTo>
                    <a:pt x="332" y="102"/>
                    <a:pt x="335" y="109"/>
                    <a:pt x="337" y="115"/>
                  </a:cubicBezTo>
                  <a:cubicBezTo>
                    <a:pt x="339" y="119"/>
                    <a:pt x="337" y="122"/>
                    <a:pt x="335" y="125"/>
                  </a:cubicBezTo>
                  <a:cubicBezTo>
                    <a:pt x="331" y="128"/>
                    <a:pt x="327" y="130"/>
                    <a:pt x="323" y="133"/>
                  </a:cubicBezTo>
                  <a:cubicBezTo>
                    <a:pt x="317" y="138"/>
                    <a:pt x="316" y="141"/>
                    <a:pt x="317" y="149"/>
                  </a:cubicBezTo>
                  <a:cubicBezTo>
                    <a:pt x="318" y="151"/>
                    <a:pt x="318" y="154"/>
                    <a:pt x="318" y="157"/>
                  </a:cubicBezTo>
                  <a:cubicBezTo>
                    <a:pt x="318" y="168"/>
                    <a:pt x="324" y="173"/>
                    <a:pt x="333" y="176"/>
                  </a:cubicBezTo>
                  <a:cubicBezTo>
                    <a:pt x="335" y="176"/>
                    <a:pt x="336" y="177"/>
                    <a:pt x="338" y="177"/>
                  </a:cubicBezTo>
                  <a:cubicBezTo>
                    <a:pt x="349" y="182"/>
                    <a:pt x="347" y="184"/>
                    <a:pt x="346" y="194"/>
                  </a:cubicBezTo>
                  <a:cubicBezTo>
                    <a:pt x="346" y="199"/>
                    <a:pt x="345" y="203"/>
                    <a:pt x="344" y="208"/>
                  </a:cubicBezTo>
                  <a:cubicBezTo>
                    <a:pt x="343" y="212"/>
                    <a:pt x="340" y="215"/>
                    <a:pt x="336" y="215"/>
                  </a:cubicBezTo>
                  <a:cubicBezTo>
                    <a:pt x="331" y="216"/>
                    <a:pt x="327" y="216"/>
                    <a:pt x="322" y="217"/>
                  </a:cubicBezTo>
                  <a:cubicBezTo>
                    <a:pt x="317" y="217"/>
                    <a:pt x="313" y="220"/>
                    <a:pt x="310" y="225"/>
                  </a:cubicBezTo>
                  <a:cubicBezTo>
                    <a:pt x="309" y="229"/>
                    <a:pt x="308" y="232"/>
                    <a:pt x="306" y="236"/>
                  </a:cubicBezTo>
                  <a:cubicBezTo>
                    <a:pt x="304" y="241"/>
                    <a:pt x="305" y="245"/>
                    <a:pt x="308" y="249"/>
                  </a:cubicBezTo>
                  <a:cubicBezTo>
                    <a:pt x="311" y="253"/>
                    <a:pt x="314" y="256"/>
                    <a:pt x="317" y="260"/>
                  </a:cubicBezTo>
                  <a:cubicBezTo>
                    <a:pt x="321" y="265"/>
                    <a:pt x="321" y="269"/>
                    <a:pt x="317" y="274"/>
                  </a:cubicBezTo>
                  <a:cubicBezTo>
                    <a:pt x="313" y="278"/>
                    <a:pt x="310" y="282"/>
                    <a:pt x="307" y="286"/>
                  </a:cubicBezTo>
                  <a:cubicBezTo>
                    <a:pt x="302" y="292"/>
                    <a:pt x="299" y="292"/>
                    <a:pt x="293" y="289"/>
                  </a:cubicBezTo>
                  <a:cubicBezTo>
                    <a:pt x="288" y="287"/>
                    <a:pt x="284" y="285"/>
                    <a:pt x="279" y="283"/>
                  </a:cubicBezTo>
                  <a:cubicBezTo>
                    <a:pt x="275" y="282"/>
                    <a:pt x="271" y="284"/>
                    <a:pt x="268" y="286"/>
                  </a:cubicBezTo>
                  <a:cubicBezTo>
                    <a:pt x="264" y="289"/>
                    <a:pt x="261" y="291"/>
                    <a:pt x="258" y="294"/>
                  </a:cubicBezTo>
                  <a:cubicBezTo>
                    <a:pt x="254" y="297"/>
                    <a:pt x="253" y="301"/>
                    <a:pt x="254" y="306"/>
                  </a:cubicBezTo>
                  <a:cubicBezTo>
                    <a:pt x="255" y="311"/>
                    <a:pt x="255" y="316"/>
                    <a:pt x="256" y="321"/>
                  </a:cubicBezTo>
                  <a:cubicBezTo>
                    <a:pt x="256" y="326"/>
                    <a:pt x="254" y="329"/>
                    <a:pt x="251" y="330"/>
                  </a:cubicBezTo>
                  <a:cubicBezTo>
                    <a:pt x="245" y="333"/>
                    <a:pt x="239" y="335"/>
                    <a:pt x="233" y="337"/>
                  </a:cubicBezTo>
                  <a:cubicBezTo>
                    <a:pt x="227" y="339"/>
                    <a:pt x="224" y="338"/>
                    <a:pt x="220" y="333"/>
                  </a:cubicBezTo>
                  <a:cubicBezTo>
                    <a:pt x="218" y="329"/>
                    <a:pt x="215" y="325"/>
                    <a:pt x="212" y="322"/>
                  </a:cubicBezTo>
                  <a:cubicBezTo>
                    <a:pt x="209" y="318"/>
                    <a:pt x="205" y="317"/>
                    <a:pt x="201" y="318"/>
                  </a:cubicBezTo>
                  <a:cubicBezTo>
                    <a:pt x="196" y="318"/>
                    <a:pt x="192" y="319"/>
                    <a:pt x="187" y="320"/>
                  </a:cubicBezTo>
                  <a:cubicBezTo>
                    <a:pt x="182" y="321"/>
                    <a:pt x="179" y="324"/>
                    <a:pt x="177" y="328"/>
                  </a:cubicBezTo>
                  <a:cubicBezTo>
                    <a:pt x="175" y="333"/>
                    <a:pt x="173" y="338"/>
                    <a:pt x="171" y="343"/>
                  </a:cubicBezTo>
                  <a:cubicBezTo>
                    <a:pt x="169" y="347"/>
                    <a:pt x="167" y="350"/>
                    <a:pt x="162" y="349"/>
                  </a:cubicBezTo>
                  <a:cubicBezTo>
                    <a:pt x="155" y="348"/>
                    <a:pt x="147" y="348"/>
                    <a:pt x="140" y="346"/>
                  </a:cubicBezTo>
                  <a:cubicBezTo>
                    <a:pt x="137" y="345"/>
                    <a:pt x="135" y="341"/>
                    <a:pt x="134" y="338"/>
                  </a:cubicBezTo>
                  <a:cubicBezTo>
                    <a:pt x="133" y="333"/>
                    <a:pt x="133" y="328"/>
                    <a:pt x="133" y="324"/>
                  </a:cubicBezTo>
                  <a:cubicBezTo>
                    <a:pt x="132" y="318"/>
                    <a:pt x="129" y="313"/>
                    <a:pt x="123" y="312"/>
                  </a:cubicBezTo>
                  <a:cubicBezTo>
                    <a:pt x="119" y="310"/>
                    <a:pt x="116" y="309"/>
                    <a:pt x="113" y="308"/>
                  </a:cubicBezTo>
                  <a:cubicBezTo>
                    <a:pt x="108" y="306"/>
                    <a:pt x="104" y="307"/>
                    <a:pt x="101" y="310"/>
                  </a:cubicBezTo>
                  <a:cubicBezTo>
                    <a:pt x="96" y="314"/>
                    <a:pt x="92" y="317"/>
                    <a:pt x="87" y="321"/>
                  </a:cubicBezTo>
                  <a:cubicBezTo>
                    <a:pt x="84" y="323"/>
                    <a:pt x="81" y="323"/>
                    <a:pt x="78" y="320"/>
                  </a:cubicBezTo>
                  <a:cubicBezTo>
                    <a:pt x="72" y="316"/>
                    <a:pt x="66" y="312"/>
                    <a:pt x="61" y="307"/>
                  </a:cubicBezTo>
                  <a:cubicBezTo>
                    <a:pt x="57" y="304"/>
                    <a:pt x="58" y="299"/>
                    <a:pt x="60" y="295"/>
                  </a:cubicBezTo>
                  <a:cubicBezTo>
                    <a:pt x="62" y="291"/>
                    <a:pt x="63" y="287"/>
                    <a:pt x="65" y="283"/>
                  </a:cubicBezTo>
                  <a:cubicBezTo>
                    <a:pt x="67" y="278"/>
                    <a:pt x="66" y="274"/>
                    <a:pt x="64" y="271"/>
                  </a:cubicBezTo>
                  <a:cubicBezTo>
                    <a:pt x="60" y="266"/>
                    <a:pt x="57" y="262"/>
                    <a:pt x="53" y="258"/>
                  </a:cubicBezTo>
                  <a:cubicBezTo>
                    <a:pt x="51" y="254"/>
                    <a:pt x="47" y="253"/>
                    <a:pt x="43" y="253"/>
                  </a:cubicBezTo>
                  <a:cubicBezTo>
                    <a:pt x="38" y="254"/>
                    <a:pt x="33" y="254"/>
                    <a:pt x="28" y="255"/>
                  </a:cubicBezTo>
                  <a:cubicBezTo>
                    <a:pt x="22" y="257"/>
                    <a:pt x="18" y="255"/>
                    <a:pt x="15" y="249"/>
                  </a:cubicBezTo>
                  <a:cubicBezTo>
                    <a:pt x="13" y="244"/>
                    <a:pt x="10" y="239"/>
                    <a:pt x="8" y="233"/>
                  </a:cubicBezTo>
                  <a:cubicBezTo>
                    <a:pt x="6" y="229"/>
                    <a:pt x="7" y="225"/>
                    <a:pt x="11" y="222"/>
                  </a:cubicBezTo>
                  <a:cubicBezTo>
                    <a:pt x="15" y="218"/>
                    <a:pt x="20" y="214"/>
                    <a:pt x="25" y="211"/>
                  </a:cubicBezTo>
                  <a:cubicBezTo>
                    <a:pt x="29" y="208"/>
                    <a:pt x="30" y="204"/>
                    <a:pt x="30" y="199"/>
                  </a:cubicBezTo>
                  <a:cubicBezTo>
                    <a:pt x="29" y="195"/>
                    <a:pt x="28" y="192"/>
                    <a:pt x="28" y="189"/>
                  </a:cubicBezTo>
                  <a:cubicBezTo>
                    <a:pt x="28" y="180"/>
                    <a:pt x="23" y="176"/>
                    <a:pt x="16" y="174"/>
                  </a:cubicBezTo>
                  <a:cubicBezTo>
                    <a:pt x="13" y="173"/>
                    <a:pt x="10" y="171"/>
                    <a:pt x="7" y="170"/>
                  </a:cubicBezTo>
                  <a:cubicBezTo>
                    <a:pt x="2" y="169"/>
                    <a:pt x="0" y="166"/>
                    <a:pt x="0" y="162"/>
                  </a:cubicBezTo>
                  <a:cubicBezTo>
                    <a:pt x="1" y="155"/>
                    <a:pt x="1" y="149"/>
                    <a:pt x="2" y="142"/>
                  </a:cubicBezTo>
                  <a:cubicBezTo>
                    <a:pt x="2" y="136"/>
                    <a:pt x="5" y="134"/>
                    <a:pt x="11" y="133"/>
                  </a:cubicBezTo>
                  <a:cubicBezTo>
                    <a:pt x="17" y="132"/>
                    <a:pt x="23" y="132"/>
                    <a:pt x="28" y="131"/>
                  </a:cubicBezTo>
                  <a:cubicBezTo>
                    <a:pt x="32" y="130"/>
                    <a:pt x="35" y="128"/>
                    <a:pt x="36" y="124"/>
                  </a:cubicBezTo>
                  <a:cubicBezTo>
                    <a:pt x="38" y="120"/>
                    <a:pt x="40" y="117"/>
                    <a:pt x="41" y="113"/>
                  </a:cubicBezTo>
                  <a:cubicBezTo>
                    <a:pt x="42" y="109"/>
                    <a:pt x="42" y="105"/>
                    <a:pt x="39" y="101"/>
                  </a:cubicBezTo>
                  <a:cubicBezTo>
                    <a:pt x="36" y="97"/>
                    <a:pt x="32" y="93"/>
                    <a:pt x="29" y="88"/>
                  </a:cubicBezTo>
                  <a:cubicBezTo>
                    <a:pt x="26" y="84"/>
                    <a:pt x="26" y="80"/>
                    <a:pt x="29" y="76"/>
                  </a:cubicBezTo>
                  <a:cubicBezTo>
                    <a:pt x="32" y="71"/>
                    <a:pt x="36" y="66"/>
                    <a:pt x="39" y="62"/>
                  </a:cubicBezTo>
                  <a:cubicBezTo>
                    <a:pt x="42" y="57"/>
                    <a:pt x="46" y="56"/>
                    <a:pt x="52" y="58"/>
                  </a:cubicBezTo>
                  <a:cubicBezTo>
                    <a:pt x="57" y="60"/>
                    <a:pt x="62" y="62"/>
                    <a:pt x="66" y="65"/>
                  </a:cubicBezTo>
                  <a:cubicBezTo>
                    <a:pt x="70" y="67"/>
                    <a:pt x="74" y="66"/>
                    <a:pt x="77" y="64"/>
                  </a:cubicBezTo>
                  <a:cubicBezTo>
                    <a:pt x="78" y="63"/>
                    <a:pt x="79" y="63"/>
                    <a:pt x="79" y="62"/>
                  </a:cubicBezTo>
                  <a:cubicBezTo>
                    <a:pt x="94" y="51"/>
                    <a:pt x="94" y="51"/>
                    <a:pt x="90" y="30"/>
                  </a:cubicBezTo>
                  <a:cubicBezTo>
                    <a:pt x="89" y="23"/>
                    <a:pt x="91" y="20"/>
                    <a:pt x="97" y="17"/>
                  </a:cubicBezTo>
                  <a:cubicBezTo>
                    <a:pt x="102" y="15"/>
                    <a:pt x="107" y="13"/>
                    <a:pt x="112" y="11"/>
                  </a:cubicBezTo>
                  <a:cubicBezTo>
                    <a:pt x="117" y="8"/>
                    <a:pt x="120" y="9"/>
                    <a:pt x="124" y="13"/>
                  </a:cubicBezTo>
                  <a:cubicBezTo>
                    <a:pt x="127" y="17"/>
                    <a:pt x="130" y="22"/>
                    <a:pt x="133" y="26"/>
                  </a:cubicBezTo>
                  <a:cubicBezTo>
                    <a:pt x="138" y="31"/>
                    <a:pt x="142" y="32"/>
                    <a:pt x="148" y="31"/>
                  </a:cubicBezTo>
                  <a:cubicBezTo>
                    <a:pt x="152" y="29"/>
                    <a:pt x="156" y="29"/>
                    <a:pt x="160" y="29"/>
                  </a:cubicBezTo>
                  <a:cubicBezTo>
                    <a:pt x="166" y="28"/>
                    <a:pt x="170" y="26"/>
                    <a:pt x="172" y="21"/>
                  </a:cubicBezTo>
                  <a:cubicBezTo>
                    <a:pt x="173" y="16"/>
                    <a:pt x="175" y="11"/>
                    <a:pt x="177" y="6"/>
                  </a:cubicBezTo>
                  <a:cubicBezTo>
                    <a:pt x="179" y="2"/>
                    <a:pt x="182" y="0"/>
                    <a:pt x="187" y="0"/>
                  </a:cubicBezTo>
                  <a:cubicBezTo>
                    <a:pt x="194" y="1"/>
                    <a:pt x="201" y="2"/>
                    <a:pt x="208" y="3"/>
                  </a:cubicBezTo>
                  <a:cubicBezTo>
                    <a:pt x="212" y="3"/>
                    <a:pt x="214" y="6"/>
                    <a:pt x="214" y="11"/>
                  </a:cubicBezTo>
                  <a:cubicBezTo>
                    <a:pt x="215" y="17"/>
                    <a:pt x="216" y="23"/>
                    <a:pt x="217" y="29"/>
                  </a:cubicBezTo>
                  <a:cubicBezTo>
                    <a:pt x="218" y="34"/>
                    <a:pt x="221" y="36"/>
                    <a:pt x="225" y="38"/>
                  </a:cubicBezTo>
                  <a:cubicBezTo>
                    <a:pt x="228" y="39"/>
                    <a:pt x="231" y="40"/>
                    <a:pt x="234" y="41"/>
                  </a:cubicBezTo>
                  <a:cubicBezTo>
                    <a:pt x="239" y="45"/>
                    <a:pt x="244" y="43"/>
                    <a:pt x="248" y="40"/>
                  </a:cubicBezTo>
                  <a:cubicBezTo>
                    <a:pt x="252" y="37"/>
                    <a:pt x="256" y="34"/>
                    <a:pt x="259" y="31"/>
                  </a:cubicBezTo>
                  <a:cubicBezTo>
                    <a:pt x="264" y="27"/>
                    <a:pt x="268" y="27"/>
                    <a:pt x="273" y="31"/>
                  </a:cubicBezTo>
                  <a:cubicBezTo>
                    <a:pt x="277" y="34"/>
                    <a:pt x="281" y="37"/>
                    <a:pt x="285" y="41"/>
                  </a:cubicBezTo>
                  <a:cubicBezTo>
                    <a:pt x="290" y="45"/>
                    <a:pt x="291" y="49"/>
                    <a:pt x="288" y="55"/>
                  </a:cubicBezTo>
                  <a:cubicBezTo>
                    <a:pt x="286" y="59"/>
                    <a:pt x="284" y="64"/>
                    <a:pt x="283" y="68"/>
                  </a:cubicBezTo>
                  <a:cubicBezTo>
                    <a:pt x="282" y="71"/>
                    <a:pt x="282" y="74"/>
                    <a:pt x="283" y="76"/>
                  </a:cubicBezTo>
                  <a:cubicBezTo>
                    <a:pt x="286" y="81"/>
                    <a:pt x="290" y="86"/>
                    <a:pt x="295" y="91"/>
                  </a:cubicBezTo>
                  <a:cubicBezTo>
                    <a:pt x="296" y="93"/>
                    <a:pt x="299" y="93"/>
                    <a:pt x="301" y="94"/>
                  </a:cubicBezTo>
                  <a:close/>
                  <a:moveTo>
                    <a:pt x="174" y="63"/>
                  </a:moveTo>
                  <a:cubicBezTo>
                    <a:pt x="112" y="63"/>
                    <a:pt x="62" y="113"/>
                    <a:pt x="62" y="174"/>
                  </a:cubicBezTo>
                  <a:cubicBezTo>
                    <a:pt x="62" y="236"/>
                    <a:pt x="112" y="285"/>
                    <a:pt x="173" y="286"/>
                  </a:cubicBezTo>
                  <a:cubicBezTo>
                    <a:pt x="235" y="286"/>
                    <a:pt x="285" y="236"/>
                    <a:pt x="285" y="174"/>
                  </a:cubicBezTo>
                  <a:cubicBezTo>
                    <a:pt x="285" y="112"/>
                    <a:pt x="234" y="63"/>
                    <a:pt x="174" y="63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16274" tIns="8138" rIns="16274" bIns="8138" numCol="1" anchor="t" anchorCtr="0" compatLnSpc="1">
              <a:prstTxWarp prst="textNoShape">
                <a:avLst/>
              </a:prstTxWarp>
            </a:bodyPr>
            <a:lstStyle/>
            <a:p>
              <a:endParaRPr lang="en-US" sz="569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5"/>
            <p:cNvSpPr>
              <a:spLocks noEditPoints="1"/>
            </p:cNvSpPr>
            <p:nvPr/>
          </p:nvSpPr>
          <p:spPr bwMode="auto">
            <a:xfrm>
              <a:off x="5057787" y="2814689"/>
              <a:ext cx="2074777" cy="985233"/>
            </a:xfrm>
            <a:custGeom>
              <a:avLst/>
              <a:gdLst>
                <a:gd name="T0" fmla="*/ 320 w 349"/>
                <a:gd name="T1" fmla="*/ 91 h 350"/>
                <a:gd name="T2" fmla="*/ 337 w 349"/>
                <a:gd name="T3" fmla="*/ 115 h 350"/>
                <a:gd name="T4" fmla="*/ 323 w 349"/>
                <a:gd name="T5" fmla="*/ 133 h 350"/>
                <a:gd name="T6" fmla="*/ 318 w 349"/>
                <a:gd name="T7" fmla="*/ 157 h 350"/>
                <a:gd name="T8" fmla="*/ 338 w 349"/>
                <a:gd name="T9" fmla="*/ 177 h 350"/>
                <a:gd name="T10" fmla="*/ 344 w 349"/>
                <a:gd name="T11" fmla="*/ 208 h 350"/>
                <a:gd name="T12" fmla="*/ 322 w 349"/>
                <a:gd name="T13" fmla="*/ 217 h 350"/>
                <a:gd name="T14" fmla="*/ 306 w 349"/>
                <a:gd name="T15" fmla="*/ 236 h 350"/>
                <a:gd name="T16" fmla="*/ 317 w 349"/>
                <a:gd name="T17" fmla="*/ 260 h 350"/>
                <a:gd name="T18" fmla="*/ 307 w 349"/>
                <a:gd name="T19" fmla="*/ 286 h 350"/>
                <a:gd name="T20" fmla="*/ 279 w 349"/>
                <a:gd name="T21" fmla="*/ 283 h 350"/>
                <a:gd name="T22" fmla="*/ 258 w 349"/>
                <a:gd name="T23" fmla="*/ 294 h 350"/>
                <a:gd name="T24" fmla="*/ 256 w 349"/>
                <a:gd name="T25" fmla="*/ 321 h 350"/>
                <a:gd name="T26" fmla="*/ 233 w 349"/>
                <a:gd name="T27" fmla="*/ 337 h 350"/>
                <a:gd name="T28" fmla="*/ 212 w 349"/>
                <a:gd name="T29" fmla="*/ 322 h 350"/>
                <a:gd name="T30" fmla="*/ 187 w 349"/>
                <a:gd name="T31" fmla="*/ 320 h 350"/>
                <a:gd name="T32" fmla="*/ 171 w 349"/>
                <a:gd name="T33" fmla="*/ 343 h 350"/>
                <a:gd name="T34" fmla="*/ 140 w 349"/>
                <a:gd name="T35" fmla="*/ 346 h 350"/>
                <a:gd name="T36" fmla="*/ 133 w 349"/>
                <a:gd name="T37" fmla="*/ 324 h 350"/>
                <a:gd name="T38" fmla="*/ 113 w 349"/>
                <a:gd name="T39" fmla="*/ 308 h 350"/>
                <a:gd name="T40" fmla="*/ 87 w 349"/>
                <a:gd name="T41" fmla="*/ 321 h 350"/>
                <a:gd name="T42" fmla="*/ 61 w 349"/>
                <a:gd name="T43" fmla="*/ 307 h 350"/>
                <a:gd name="T44" fmla="*/ 65 w 349"/>
                <a:gd name="T45" fmla="*/ 283 h 350"/>
                <a:gd name="T46" fmla="*/ 53 w 349"/>
                <a:gd name="T47" fmla="*/ 258 h 350"/>
                <a:gd name="T48" fmla="*/ 28 w 349"/>
                <a:gd name="T49" fmla="*/ 255 h 350"/>
                <a:gd name="T50" fmla="*/ 8 w 349"/>
                <a:gd name="T51" fmla="*/ 233 h 350"/>
                <a:gd name="T52" fmla="*/ 25 w 349"/>
                <a:gd name="T53" fmla="*/ 211 h 350"/>
                <a:gd name="T54" fmla="*/ 28 w 349"/>
                <a:gd name="T55" fmla="*/ 189 h 350"/>
                <a:gd name="T56" fmla="*/ 7 w 349"/>
                <a:gd name="T57" fmla="*/ 170 h 350"/>
                <a:gd name="T58" fmla="*/ 2 w 349"/>
                <a:gd name="T59" fmla="*/ 142 h 350"/>
                <a:gd name="T60" fmla="*/ 28 w 349"/>
                <a:gd name="T61" fmla="*/ 131 h 350"/>
                <a:gd name="T62" fmla="*/ 41 w 349"/>
                <a:gd name="T63" fmla="*/ 113 h 350"/>
                <a:gd name="T64" fmla="*/ 29 w 349"/>
                <a:gd name="T65" fmla="*/ 88 h 350"/>
                <a:gd name="T66" fmla="*/ 39 w 349"/>
                <a:gd name="T67" fmla="*/ 62 h 350"/>
                <a:gd name="T68" fmla="*/ 66 w 349"/>
                <a:gd name="T69" fmla="*/ 65 h 350"/>
                <a:gd name="T70" fmla="*/ 79 w 349"/>
                <a:gd name="T71" fmla="*/ 62 h 350"/>
                <a:gd name="T72" fmla="*/ 97 w 349"/>
                <a:gd name="T73" fmla="*/ 17 h 350"/>
                <a:gd name="T74" fmla="*/ 124 w 349"/>
                <a:gd name="T75" fmla="*/ 13 h 350"/>
                <a:gd name="T76" fmla="*/ 148 w 349"/>
                <a:gd name="T77" fmla="*/ 31 h 350"/>
                <a:gd name="T78" fmla="*/ 172 w 349"/>
                <a:gd name="T79" fmla="*/ 21 h 350"/>
                <a:gd name="T80" fmla="*/ 187 w 349"/>
                <a:gd name="T81" fmla="*/ 0 h 350"/>
                <a:gd name="T82" fmla="*/ 214 w 349"/>
                <a:gd name="T83" fmla="*/ 11 h 350"/>
                <a:gd name="T84" fmla="*/ 225 w 349"/>
                <a:gd name="T85" fmla="*/ 38 h 350"/>
                <a:gd name="T86" fmla="*/ 248 w 349"/>
                <a:gd name="T87" fmla="*/ 40 h 350"/>
                <a:gd name="T88" fmla="*/ 273 w 349"/>
                <a:gd name="T89" fmla="*/ 31 h 350"/>
                <a:gd name="T90" fmla="*/ 288 w 349"/>
                <a:gd name="T91" fmla="*/ 55 h 350"/>
                <a:gd name="T92" fmla="*/ 283 w 349"/>
                <a:gd name="T93" fmla="*/ 76 h 350"/>
                <a:gd name="T94" fmla="*/ 301 w 349"/>
                <a:gd name="T95" fmla="*/ 94 h 350"/>
                <a:gd name="T96" fmla="*/ 62 w 349"/>
                <a:gd name="T97" fmla="*/ 174 h 350"/>
                <a:gd name="T98" fmla="*/ 285 w 349"/>
                <a:gd name="T99" fmla="*/ 174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49" h="350">
                  <a:moveTo>
                    <a:pt x="301" y="94"/>
                  </a:moveTo>
                  <a:cubicBezTo>
                    <a:pt x="308" y="93"/>
                    <a:pt x="314" y="92"/>
                    <a:pt x="320" y="91"/>
                  </a:cubicBezTo>
                  <a:cubicBezTo>
                    <a:pt x="324" y="90"/>
                    <a:pt x="328" y="92"/>
                    <a:pt x="330" y="96"/>
                  </a:cubicBezTo>
                  <a:cubicBezTo>
                    <a:pt x="332" y="102"/>
                    <a:pt x="335" y="109"/>
                    <a:pt x="337" y="115"/>
                  </a:cubicBezTo>
                  <a:cubicBezTo>
                    <a:pt x="339" y="119"/>
                    <a:pt x="337" y="122"/>
                    <a:pt x="335" y="125"/>
                  </a:cubicBezTo>
                  <a:cubicBezTo>
                    <a:pt x="331" y="128"/>
                    <a:pt x="327" y="130"/>
                    <a:pt x="323" y="133"/>
                  </a:cubicBezTo>
                  <a:cubicBezTo>
                    <a:pt x="317" y="138"/>
                    <a:pt x="316" y="141"/>
                    <a:pt x="317" y="149"/>
                  </a:cubicBezTo>
                  <a:cubicBezTo>
                    <a:pt x="318" y="151"/>
                    <a:pt x="318" y="154"/>
                    <a:pt x="318" y="157"/>
                  </a:cubicBezTo>
                  <a:cubicBezTo>
                    <a:pt x="318" y="168"/>
                    <a:pt x="324" y="173"/>
                    <a:pt x="333" y="176"/>
                  </a:cubicBezTo>
                  <a:cubicBezTo>
                    <a:pt x="335" y="176"/>
                    <a:pt x="336" y="177"/>
                    <a:pt x="338" y="177"/>
                  </a:cubicBezTo>
                  <a:cubicBezTo>
                    <a:pt x="349" y="182"/>
                    <a:pt x="347" y="184"/>
                    <a:pt x="346" y="194"/>
                  </a:cubicBezTo>
                  <a:cubicBezTo>
                    <a:pt x="346" y="199"/>
                    <a:pt x="345" y="203"/>
                    <a:pt x="344" y="208"/>
                  </a:cubicBezTo>
                  <a:cubicBezTo>
                    <a:pt x="343" y="212"/>
                    <a:pt x="340" y="215"/>
                    <a:pt x="336" y="215"/>
                  </a:cubicBezTo>
                  <a:cubicBezTo>
                    <a:pt x="331" y="216"/>
                    <a:pt x="327" y="216"/>
                    <a:pt x="322" y="217"/>
                  </a:cubicBezTo>
                  <a:cubicBezTo>
                    <a:pt x="317" y="217"/>
                    <a:pt x="313" y="220"/>
                    <a:pt x="310" y="225"/>
                  </a:cubicBezTo>
                  <a:cubicBezTo>
                    <a:pt x="309" y="229"/>
                    <a:pt x="308" y="232"/>
                    <a:pt x="306" y="236"/>
                  </a:cubicBezTo>
                  <a:cubicBezTo>
                    <a:pt x="304" y="241"/>
                    <a:pt x="305" y="245"/>
                    <a:pt x="308" y="249"/>
                  </a:cubicBezTo>
                  <a:cubicBezTo>
                    <a:pt x="311" y="253"/>
                    <a:pt x="314" y="256"/>
                    <a:pt x="317" y="260"/>
                  </a:cubicBezTo>
                  <a:cubicBezTo>
                    <a:pt x="321" y="265"/>
                    <a:pt x="321" y="269"/>
                    <a:pt x="317" y="274"/>
                  </a:cubicBezTo>
                  <a:cubicBezTo>
                    <a:pt x="313" y="278"/>
                    <a:pt x="310" y="282"/>
                    <a:pt x="307" y="286"/>
                  </a:cubicBezTo>
                  <a:cubicBezTo>
                    <a:pt x="302" y="292"/>
                    <a:pt x="299" y="292"/>
                    <a:pt x="293" y="289"/>
                  </a:cubicBezTo>
                  <a:cubicBezTo>
                    <a:pt x="288" y="287"/>
                    <a:pt x="284" y="285"/>
                    <a:pt x="279" y="283"/>
                  </a:cubicBezTo>
                  <a:cubicBezTo>
                    <a:pt x="275" y="282"/>
                    <a:pt x="271" y="284"/>
                    <a:pt x="268" y="286"/>
                  </a:cubicBezTo>
                  <a:cubicBezTo>
                    <a:pt x="264" y="289"/>
                    <a:pt x="261" y="291"/>
                    <a:pt x="258" y="294"/>
                  </a:cubicBezTo>
                  <a:cubicBezTo>
                    <a:pt x="254" y="297"/>
                    <a:pt x="253" y="301"/>
                    <a:pt x="254" y="306"/>
                  </a:cubicBezTo>
                  <a:cubicBezTo>
                    <a:pt x="255" y="311"/>
                    <a:pt x="255" y="316"/>
                    <a:pt x="256" y="321"/>
                  </a:cubicBezTo>
                  <a:cubicBezTo>
                    <a:pt x="256" y="326"/>
                    <a:pt x="254" y="329"/>
                    <a:pt x="251" y="330"/>
                  </a:cubicBezTo>
                  <a:cubicBezTo>
                    <a:pt x="245" y="333"/>
                    <a:pt x="239" y="335"/>
                    <a:pt x="233" y="337"/>
                  </a:cubicBezTo>
                  <a:cubicBezTo>
                    <a:pt x="227" y="339"/>
                    <a:pt x="224" y="338"/>
                    <a:pt x="220" y="333"/>
                  </a:cubicBezTo>
                  <a:cubicBezTo>
                    <a:pt x="218" y="329"/>
                    <a:pt x="215" y="325"/>
                    <a:pt x="212" y="322"/>
                  </a:cubicBezTo>
                  <a:cubicBezTo>
                    <a:pt x="209" y="318"/>
                    <a:pt x="205" y="317"/>
                    <a:pt x="201" y="318"/>
                  </a:cubicBezTo>
                  <a:cubicBezTo>
                    <a:pt x="196" y="318"/>
                    <a:pt x="192" y="319"/>
                    <a:pt x="187" y="320"/>
                  </a:cubicBezTo>
                  <a:cubicBezTo>
                    <a:pt x="182" y="321"/>
                    <a:pt x="179" y="324"/>
                    <a:pt x="177" y="328"/>
                  </a:cubicBezTo>
                  <a:cubicBezTo>
                    <a:pt x="175" y="333"/>
                    <a:pt x="173" y="338"/>
                    <a:pt x="171" y="343"/>
                  </a:cubicBezTo>
                  <a:cubicBezTo>
                    <a:pt x="169" y="347"/>
                    <a:pt x="167" y="350"/>
                    <a:pt x="162" y="349"/>
                  </a:cubicBezTo>
                  <a:cubicBezTo>
                    <a:pt x="155" y="348"/>
                    <a:pt x="147" y="348"/>
                    <a:pt x="140" y="346"/>
                  </a:cubicBezTo>
                  <a:cubicBezTo>
                    <a:pt x="137" y="345"/>
                    <a:pt x="135" y="341"/>
                    <a:pt x="134" y="338"/>
                  </a:cubicBezTo>
                  <a:cubicBezTo>
                    <a:pt x="133" y="333"/>
                    <a:pt x="133" y="328"/>
                    <a:pt x="133" y="324"/>
                  </a:cubicBezTo>
                  <a:cubicBezTo>
                    <a:pt x="132" y="318"/>
                    <a:pt x="129" y="313"/>
                    <a:pt x="123" y="312"/>
                  </a:cubicBezTo>
                  <a:cubicBezTo>
                    <a:pt x="119" y="310"/>
                    <a:pt x="116" y="309"/>
                    <a:pt x="113" y="308"/>
                  </a:cubicBezTo>
                  <a:cubicBezTo>
                    <a:pt x="108" y="306"/>
                    <a:pt x="104" y="307"/>
                    <a:pt x="101" y="310"/>
                  </a:cubicBezTo>
                  <a:cubicBezTo>
                    <a:pt x="96" y="314"/>
                    <a:pt x="92" y="317"/>
                    <a:pt x="87" y="321"/>
                  </a:cubicBezTo>
                  <a:cubicBezTo>
                    <a:pt x="84" y="323"/>
                    <a:pt x="81" y="323"/>
                    <a:pt x="78" y="320"/>
                  </a:cubicBezTo>
                  <a:cubicBezTo>
                    <a:pt x="72" y="316"/>
                    <a:pt x="66" y="312"/>
                    <a:pt x="61" y="307"/>
                  </a:cubicBezTo>
                  <a:cubicBezTo>
                    <a:pt x="57" y="304"/>
                    <a:pt x="58" y="299"/>
                    <a:pt x="60" y="295"/>
                  </a:cubicBezTo>
                  <a:cubicBezTo>
                    <a:pt x="62" y="291"/>
                    <a:pt x="63" y="287"/>
                    <a:pt x="65" y="283"/>
                  </a:cubicBezTo>
                  <a:cubicBezTo>
                    <a:pt x="67" y="278"/>
                    <a:pt x="66" y="274"/>
                    <a:pt x="64" y="271"/>
                  </a:cubicBezTo>
                  <a:cubicBezTo>
                    <a:pt x="60" y="266"/>
                    <a:pt x="57" y="262"/>
                    <a:pt x="53" y="258"/>
                  </a:cubicBezTo>
                  <a:cubicBezTo>
                    <a:pt x="51" y="254"/>
                    <a:pt x="47" y="253"/>
                    <a:pt x="43" y="253"/>
                  </a:cubicBezTo>
                  <a:cubicBezTo>
                    <a:pt x="38" y="254"/>
                    <a:pt x="33" y="254"/>
                    <a:pt x="28" y="255"/>
                  </a:cubicBezTo>
                  <a:cubicBezTo>
                    <a:pt x="22" y="257"/>
                    <a:pt x="18" y="255"/>
                    <a:pt x="15" y="249"/>
                  </a:cubicBezTo>
                  <a:cubicBezTo>
                    <a:pt x="13" y="244"/>
                    <a:pt x="10" y="239"/>
                    <a:pt x="8" y="233"/>
                  </a:cubicBezTo>
                  <a:cubicBezTo>
                    <a:pt x="6" y="229"/>
                    <a:pt x="7" y="225"/>
                    <a:pt x="11" y="222"/>
                  </a:cubicBezTo>
                  <a:cubicBezTo>
                    <a:pt x="15" y="218"/>
                    <a:pt x="20" y="214"/>
                    <a:pt x="25" y="211"/>
                  </a:cubicBezTo>
                  <a:cubicBezTo>
                    <a:pt x="29" y="208"/>
                    <a:pt x="30" y="204"/>
                    <a:pt x="30" y="199"/>
                  </a:cubicBezTo>
                  <a:cubicBezTo>
                    <a:pt x="29" y="195"/>
                    <a:pt x="28" y="192"/>
                    <a:pt x="28" y="189"/>
                  </a:cubicBezTo>
                  <a:cubicBezTo>
                    <a:pt x="28" y="180"/>
                    <a:pt x="23" y="176"/>
                    <a:pt x="16" y="174"/>
                  </a:cubicBezTo>
                  <a:cubicBezTo>
                    <a:pt x="13" y="173"/>
                    <a:pt x="10" y="171"/>
                    <a:pt x="7" y="170"/>
                  </a:cubicBezTo>
                  <a:cubicBezTo>
                    <a:pt x="2" y="169"/>
                    <a:pt x="0" y="166"/>
                    <a:pt x="0" y="162"/>
                  </a:cubicBezTo>
                  <a:cubicBezTo>
                    <a:pt x="1" y="155"/>
                    <a:pt x="1" y="149"/>
                    <a:pt x="2" y="142"/>
                  </a:cubicBezTo>
                  <a:cubicBezTo>
                    <a:pt x="2" y="136"/>
                    <a:pt x="5" y="134"/>
                    <a:pt x="11" y="133"/>
                  </a:cubicBezTo>
                  <a:cubicBezTo>
                    <a:pt x="17" y="132"/>
                    <a:pt x="23" y="132"/>
                    <a:pt x="28" y="131"/>
                  </a:cubicBezTo>
                  <a:cubicBezTo>
                    <a:pt x="32" y="130"/>
                    <a:pt x="35" y="128"/>
                    <a:pt x="36" y="124"/>
                  </a:cubicBezTo>
                  <a:cubicBezTo>
                    <a:pt x="38" y="120"/>
                    <a:pt x="40" y="117"/>
                    <a:pt x="41" y="113"/>
                  </a:cubicBezTo>
                  <a:cubicBezTo>
                    <a:pt x="42" y="109"/>
                    <a:pt x="42" y="105"/>
                    <a:pt x="39" y="101"/>
                  </a:cubicBezTo>
                  <a:cubicBezTo>
                    <a:pt x="36" y="97"/>
                    <a:pt x="32" y="93"/>
                    <a:pt x="29" y="88"/>
                  </a:cubicBezTo>
                  <a:cubicBezTo>
                    <a:pt x="26" y="84"/>
                    <a:pt x="26" y="80"/>
                    <a:pt x="29" y="76"/>
                  </a:cubicBezTo>
                  <a:cubicBezTo>
                    <a:pt x="32" y="71"/>
                    <a:pt x="36" y="66"/>
                    <a:pt x="39" y="62"/>
                  </a:cubicBezTo>
                  <a:cubicBezTo>
                    <a:pt x="42" y="57"/>
                    <a:pt x="46" y="56"/>
                    <a:pt x="52" y="58"/>
                  </a:cubicBezTo>
                  <a:cubicBezTo>
                    <a:pt x="57" y="60"/>
                    <a:pt x="62" y="62"/>
                    <a:pt x="66" y="65"/>
                  </a:cubicBezTo>
                  <a:cubicBezTo>
                    <a:pt x="70" y="67"/>
                    <a:pt x="74" y="66"/>
                    <a:pt x="77" y="64"/>
                  </a:cubicBezTo>
                  <a:cubicBezTo>
                    <a:pt x="78" y="63"/>
                    <a:pt x="79" y="63"/>
                    <a:pt x="79" y="62"/>
                  </a:cubicBezTo>
                  <a:cubicBezTo>
                    <a:pt x="94" y="51"/>
                    <a:pt x="94" y="51"/>
                    <a:pt x="90" y="30"/>
                  </a:cubicBezTo>
                  <a:cubicBezTo>
                    <a:pt x="89" y="23"/>
                    <a:pt x="91" y="20"/>
                    <a:pt x="97" y="17"/>
                  </a:cubicBezTo>
                  <a:cubicBezTo>
                    <a:pt x="102" y="15"/>
                    <a:pt x="107" y="13"/>
                    <a:pt x="112" y="11"/>
                  </a:cubicBezTo>
                  <a:cubicBezTo>
                    <a:pt x="117" y="8"/>
                    <a:pt x="120" y="9"/>
                    <a:pt x="124" y="13"/>
                  </a:cubicBezTo>
                  <a:cubicBezTo>
                    <a:pt x="127" y="17"/>
                    <a:pt x="130" y="22"/>
                    <a:pt x="133" y="26"/>
                  </a:cubicBezTo>
                  <a:cubicBezTo>
                    <a:pt x="138" y="31"/>
                    <a:pt x="142" y="32"/>
                    <a:pt x="148" y="31"/>
                  </a:cubicBezTo>
                  <a:cubicBezTo>
                    <a:pt x="152" y="29"/>
                    <a:pt x="156" y="29"/>
                    <a:pt x="160" y="29"/>
                  </a:cubicBezTo>
                  <a:cubicBezTo>
                    <a:pt x="166" y="28"/>
                    <a:pt x="170" y="26"/>
                    <a:pt x="172" y="21"/>
                  </a:cubicBezTo>
                  <a:cubicBezTo>
                    <a:pt x="173" y="16"/>
                    <a:pt x="175" y="11"/>
                    <a:pt x="177" y="6"/>
                  </a:cubicBezTo>
                  <a:cubicBezTo>
                    <a:pt x="179" y="2"/>
                    <a:pt x="182" y="0"/>
                    <a:pt x="187" y="0"/>
                  </a:cubicBezTo>
                  <a:cubicBezTo>
                    <a:pt x="194" y="1"/>
                    <a:pt x="201" y="2"/>
                    <a:pt x="208" y="3"/>
                  </a:cubicBezTo>
                  <a:cubicBezTo>
                    <a:pt x="212" y="3"/>
                    <a:pt x="214" y="6"/>
                    <a:pt x="214" y="11"/>
                  </a:cubicBezTo>
                  <a:cubicBezTo>
                    <a:pt x="215" y="17"/>
                    <a:pt x="216" y="23"/>
                    <a:pt x="217" y="29"/>
                  </a:cubicBezTo>
                  <a:cubicBezTo>
                    <a:pt x="218" y="34"/>
                    <a:pt x="221" y="36"/>
                    <a:pt x="225" y="38"/>
                  </a:cubicBezTo>
                  <a:cubicBezTo>
                    <a:pt x="228" y="39"/>
                    <a:pt x="231" y="40"/>
                    <a:pt x="234" y="41"/>
                  </a:cubicBezTo>
                  <a:cubicBezTo>
                    <a:pt x="239" y="45"/>
                    <a:pt x="244" y="43"/>
                    <a:pt x="248" y="40"/>
                  </a:cubicBezTo>
                  <a:cubicBezTo>
                    <a:pt x="252" y="37"/>
                    <a:pt x="256" y="34"/>
                    <a:pt x="259" y="31"/>
                  </a:cubicBezTo>
                  <a:cubicBezTo>
                    <a:pt x="264" y="27"/>
                    <a:pt x="268" y="27"/>
                    <a:pt x="273" y="31"/>
                  </a:cubicBezTo>
                  <a:cubicBezTo>
                    <a:pt x="277" y="34"/>
                    <a:pt x="281" y="37"/>
                    <a:pt x="285" y="41"/>
                  </a:cubicBezTo>
                  <a:cubicBezTo>
                    <a:pt x="290" y="45"/>
                    <a:pt x="291" y="49"/>
                    <a:pt x="288" y="55"/>
                  </a:cubicBezTo>
                  <a:cubicBezTo>
                    <a:pt x="286" y="59"/>
                    <a:pt x="284" y="64"/>
                    <a:pt x="283" y="68"/>
                  </a:cubicBezTo>
                  <a:cubicBezTo>
                    <a:pt x="282" y="71"/>
                    <a:pt x="282" y="74"/>
                    <a:pt x="283" y="76"/>
                  </a:cubicBezTo>
                  <a:cubicBezTo>
                    <a:pt x="286" y="81"/>
                    <a:pt x="290" y="86"/>
                    <a:pt x="295" y="91"/>
                  </a:cubicBezTo>
                  <a:cubicBezTo>
                    <a:pt x="296" y="93"/>
                    <a:pt x="299" y="93"/>
                    <a:pt x="301" y="94"/>
                  </a:cubicBezTo>
                  <a:close/>
                  <a:moveTo>
                    <a:pt x="174" y="63"/>
                  </a:moveTo>
                  <a:cubicBezTo>
                    <a:pt x="112" y="63"/>
                    <a:pt x="62" y="113"/>
                    <a:pt x="62" y="174"/>
                  </a:cubicBezTo>
                  <a:cubicBezTo>
                    <a:pt x="62" y="236"/>
                    <a:pt x="112" y="285"/>
                    <a:pt x="173" y="286"/>
                  </a:cubicBezTo>
                  <a:cubicBezTo>
                    <a:pt x="235" y="286"/>
                    <a:pt x="285" y="236"/>
                    <a:pt x="285" y="174"/>
                  </a:cubicBezTo>
                  <a:cubicBezTo>
                    <a:pt x="285" y="112"/>
                    <a:pt x="234" y="63"/>
                    <a:pt x="174" y="6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6274" tIns="8138" rIns="16274" bIns="8138" numCol="1" anchor="t" anchorCtr="0" compatLnSpc="1">
              <a:prstTxWarp prst="textNoShape">
                <a:avLst/>
              </a:prstTxWarp>
            </a:bodyPr>
            <a:lstStyle/>
            <a:p>
              <a:endParaRPr lang="en-US" sz="569" dirty="0">
                <a:solidFill>
                  <a:prstClr val="black"/>
                </a:solidFill>
              </a:endParaRPr>
            </a:p>
          </p:txBody>
        </p:sp>
      </p:grpSp>
      <p:sp>
        <p:nvSpPr>
          <p:cNvPr id="18" name="Freeform 5"/>
          <p:cNvSpPr>
            <a:spLocks noEditPoints="1"/>
          </p:cNvSpPr>
          <p:nvPr/>
        </p:nvSpPr>
        <p:spPr bwMode="auto">
          <a:xfrm>
            <a:off x="1183628" y="4389117"/>
            <a:ext cx="1441619" cy="1361981"/>
          </a:xfrm>
          <a:custGeom>
            <a:avLst/>
            <a:gdLst>
              <a:gd name="T0" fmla="*/ 320 w 349"/>
              <a:gd name="T1" fmla="*/ 91 h 350"/>
              <a:gd name="T2" fmla="*/ 337 w 349"/>
              <a:gd name="T3" fmla="*/ 115 h 350"/>
              <a:gd name="T4" fmla="*/ 323 w 349"/>
              <a:gd name="T5" fmla="*/ 133 h 350"/>
              <a:gd name="T6" fmla="*/ 318 w 349"/>
              <a:gd name="T7" fmla="*/ 157 h 350"/>
              <a:gd name="T8" fmla="*/ 338 w 349"/>
              <a:gd name="T9" fmla="*/ 177 h 350"/>
              <a:gd name="T10" fmla="*/ 344 w 349"/>
              <a:gd name="T11" fmla="*/ 208 h 350"/>
              <a:gd name="T12" fmla="*/ 322 w 349"/>
              <a:gd name="T13" fmla="*/ 217 h 350"/>
              <a:gd name="T14" fmla="*/ 306 w 349"/>
              <a:gd name="T15" fmla="*/ 236 h 350"/>
              <a:gd name="T16" fmla="*/ 317 w 349"/>
              <a:gd name="T17" fmla="*/ 260 h 350"/>
              <a:gd name="T18" fmla="*/ 307 w 349"/>
              <a:gd name="T19" fmla="*/ 286 h 350"/>
              <a:gd name="T20" fmla="*/ 279 w 349"/>
              <a:gd name="T21" fmla="*/ 283 h 350"/>
              <a:gd name="T22" fmla="*/ 258 w 349"/>
              <a:gd name="T23" fmla="*/ 294 h 350"/>
              <a:gd name="T24" fmla="*/ 256 w 349"/>
              <a:gd name="T25" fmla="*/ 321 h 350"/>
              <a:gd name="T26" fmla="*/ 233 w 349"/>
              <a:gd name="T27" fmla="*/ 337 h 350"/>
              <a:gd name="T28" fmla="*/ 212 w 349"/>
              <a:gd name="T29" fmla="*/ 322 h 350"/>
              <a:gd name="T30" fmla="*/ 187 w 349"/>
              <a:gd name="T31" fmla="*/ 320 h 350"/>
              <a:gd name="T32" fmla="*/ 171 w 349"/>
              <a:gd name="T33" fmla="*/ 343 h 350"/>
              <a:gd name="T34" fmla="*/ 140 w 349"/>
              <a:gd name="T35" fmla="*/ 346 h 350"/>
              <a:gd name="T36" fmla="*/ 133 w 349"/>
              <a:gd name="T37" fmla="*/ 324 h 350"/>
              <a:gd name="T38" fmla="*/ 113 w 349"/>
              <a:gd name="T39" fmla="*/ 308 h 350"/>
              <a:gd name="T40" fmla="*/ 87 w 349"/>
              <a:gd name="T41" fmla="*/ 321 h 350"/>
              <a:gd name="T42" fmla="*/ 61 w 349"/>
              <a:gd name="T43" fmla="*/ 307 h 350"/>
              <a:gd name="T44" fmla="*/ 65 w 349"/>
              <a:gd name="T45" fmla="*/ 283 h 350"/>
              <a:gd name="T46" fmla="*/ 53 w 349"/>
              <a:gd name="T47" fmla="*/ 258 h 350"/>
              <a:gd name="T48" fmla="*/ 28 w 349"/>
              <a:gd name="T49" fmla="*/ 255 h 350"/>
              <a:gd name="T50" fmla="*/ 8 w 349"/>
              <a:gd name="T51" fmla="*/ 233 h 350"/>
              <a:gd name="T52" fmla="*/ 25 w 349"/>
              <a:gd name="T53" fmla="*/ 211 h 350"/>
              <a:gd name="T54" fmla="*/ 28 w 349"/>
              <a:gd name="T55" fmla="*/ 189 h 350"/>
              <a:gd name="T56" fmla="*/ 7 w 349"/>
              <a:gd name="T57" fmla="*/ 170 h 350"/>
              <a:gd name="T58" fmla="*/ 2 w 349"/>
              <a:gd name="T59" fmla="*/ 142 h 350"/>
              <a:gd name="T60" fmla="*/ 28 w 349"/>
              <a:gd name="T61" fmla="*/ 131 h 350"/>
              <a:gd name="T62" fmla="*/ 41 w 349"/>
              <a:gd name="T63" fmla="*/ 113 h 350"/>
              <a:gd name="T64" fmla="*/ 29 w 349"/>
              <a:gd name="T65" fmla="*/ 88 h 350"/>
              <a:gd name="T66" fmla="*/ 39 w 349"/>
              <a:gd name="T67" fmla="*/ 62 h 350"/>
              <a:gd name="T68" fmla="*/ 66 w 349"/>
              <a:gd name="T69" fmla="*/ 65 h 350"/>
              <a:gd name="T70" fmla="*/ 79 w 349"/>
              <a:gd name="T71" fmla="*/ 62 h 350"/>
              <a:gd name="T72" fmla="*/ 97 w 349"/>
              <a:gd name="T73" fmla="*/ 17 h 350"/>
              <a:gd name="T74" fmla="*/ 124 w 349"/>
              <a:gd name="T75" fmla="*/ 13 h 350"/>
              <a:gd name="T76" fmla="*/ 148 w 349"/>
              <a:gd name="T77" fmla="*/ 31 h 350"/>
              <a:gd name="T78" fmla="*/ 172 w 349"/>
              <a:gd name="T79" fmla="*/ 21 h 350"/>
              <a:gd name="T80" fmla="*/ 187 w 349"/>
              <a:gd name="T81" fmla="*/ 0 h 350"/>
              <a:gd name="T82" fmla="*/ 214 w 349"/>
              <a:gd name="T83" fmla="*/ 11 h 350"/>
              <a:gd name="T84" fmla="*/ 225 w 349"/>
              <a:gd name="T85" fmla="*/ 38 h 350"/>
              <a:gd name="T86" fmla="*/ 248 w 349"/>
              <a:gd name="T87" fmla="*/ 40 h 350"/>
              <a:gd name="T88" fmla="*/ 273 w 349"/>
              <a:gd name="T89" fmla="*/ 31 h 350"/>
              <a:gd name="T90" fmla="*/ 288 w 349"/>
              <a:gd name="T91" fmla="*/ 55 h 350"/>
              <a:gd name="T92" fmla="*/ 283 w 349"/>
              <a:gd name="T93" fmla="*/ 76 h 350"/>
              <a:gd name="T94" fmla="*/ 301 w 349"/>
              <a:gd name="T95" fmla="*/ 94 h 350"/>
              <a:gd name="T96" fmla="*/ 62 w 349"/>
              <a:gd name="T97" fmla="*/ 174 h 350"/>
              <a:gd name="T98" fmla="*/ 285 w 349"/>
              <a:gd name="T99" fmla="*/ 174 h 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49" h="350">
                <a:moveTo>
                  <a:pt x="301" y="94"/>
                </a:moveTo>
                <a:cubicBezTo>
                  <a:pt x="308" y="93"/>
                  <a:pt x="314" y="92"/>
                  <a:pt x="320" y="91"/>
                </a:cubicBezTo>
                <a:cubicBezTo>
                  <a:pt x="324" y="90"/>
                  <a:pt x="328" y="92"/>
                  <a:pt x="330" y="96"/>
                </a:cubicBezTo>
                <a:cubicBezTo>
                  <a:pt x="332" y="102"/>
                  <a:pt x="335" y="109"/>
                  <a:pt x="337" y="115"/>
                </a:cubicBezTo>
                <a:cubicBezTo>
                  <a:pt x="339" y="119"/>
                  <a:pt x="337" y="122"/>
                  <a:pt x="335" y="125"/>
                </a:cubicBezTo>
                <a:cubicBezTo>
                  <a:pt x="331" y="128"/>
                  <a:pt x="327" y="130"/>
                  <a:pt x="323" y="133"/>
                </a:cubicBezTo>
                <a:cubicBezTo>
                  <a:pt x="317" y="138"/>
                  <a:pt x="316" y="141"/>
                  <a:pt x="317" y="149"/>
                </a:cubicBezTo>
                <a:cubicBezTo>
                  <a:pt x="318" y="151"/>
                  <a:pt x="318" y="154"/>
                  <a:pt x="318" y="157"/>
                </a:cubicBezTo>
                <a:cubicBezTo>
                  <a:pt x="318" y="168"/>
                  <a:pt x="324" y="173"/>
                  <a:pt x="333" y="176"/>
                </a:cubicBezTo>
                <a:cubicBezTo>
                  <a:pt x="335" y="176"/>
                  <a:pt x="336" y="177"/>
                  <a:pt x="338" y="177"/>
                </a:cubicBezTo>
                <a:cubicBezTo>
                  <a:pt x="349" y="182"/>
                  <a:pt x="347" y="184"/>
                  <a:pt x="346" y="194"/>
                </a:cubicBezTo>
                <a:cubicBezTo>
                  <a:pt x="346" y="199"/>
                  <a:pt x="345" y="203"/>
                  <a:pt x="344" y="208"/>
                </a:cubicBezTo>
                <a:cubicBezTo>
                  <a:pt x="343" y="212"/>
                  <a:pt x="340" y="215"/>
                  <a:pt x="336" y="215"/>
                </a:cubicBezTo>
                <a:cubicBezTo>
                  <a:pt x="331" y="216"/>
                  <a:pt x="327" y="216"/>
                  <a:pt x="322" y="217"/>
                </a:cubicBezTo>
                <a:cubicBezTo>
                  <a:pt x="317" y="217"/>
                  <a:pt x="313" y="220"/>
                  <a:pt x="310" y="225"/>
                </a:cubicBezTo>
                <a:cubicBezTo>
                  <a:pt x="309" y="229"/>
                  <a:pt x="308" y="232"/>
                  <a:pt x="306" y="236"/>
                </a:cubicBezTo>
                <a:cubicBezTo>
                  <a:pt x="304" y="241"/>
                  <a:pt x="305" y="245"/>
                  <a:pt x="308" y="249"/>
                </a:cubicBezTo>
                <a:cubicBezTo>
                  <a:pt x="311" y="253"/>
                  <a:pt x="314" y="256"/>
                  <a:pt x="317" y="260"/>
                </a:cubicBezTo>
                <a:cubicBezTo>
                  <a:pt x="321" y="265"/>
                  <a:pt x="321" y="269"/>
                  <a:pt x="317" y="274"/>
                </a:cubicBezTo>
                <a:cubicBezTo>
                  <a:pt x="313" y="278"/>
                  <a:pt x="310" y="282"/>
                  <a:pt x="307" y="286"/>
                </a:cubicBezTo>
                <a:cubicBezTo>
                  <a:pt x="302" y="292"/>
                  <a:pt x="299" y="292"/>
                  <a:pt x="293" y="289"/>
                </a:cubicBezTo>
                <a:cubicBezTo>
                  <a:pt x="288" y="287"/>
                  <a:pt x="284" y="285"/>
                  <a:pt x="279" y="283"/>
                </a:cubicBezTo>
                <a:cubicBezTo>
                  <a:pt x="275" y="282"/>
                  <a:pt x="271" y="284"/>
                  <a:pt x="268" y="286"/>
                </a:cubicBezTo>
                <a:cubicBezTo>
                  <a:pt x="264" y="289"/>
                  <a:pt x="261" y="291"/>
                  <a:pt x="258" y="294"/>
                </a:cubicBezTo>
                <a:cubicBezTo>
                  <a:pt x="254" y="297"/>
                  <a:pt x="253" y="301"/>
                  <a:pt x="254" y="306"/>
                </a:cubicBezTo>
                <a:cubicBezTo>
                  <a:pt x="255" y="311"/>
                  <a:pt x="255" y="316"/>
                  <a:pt x="256" y="321"/>
                </a:cubicBezTo>
                <a:cubicBezTo>
                  <a:pt x="256" y="326"/>
                  <a:pt x="254" y="329"/>
                  <a:pt x="251" y="330"/>
                </a:cubicBezTo>
                <a:cubicBezTo>
                  <a:pt x="245" y="333"/>
                  <a:pt x="239" y="335"/>
                  <a:pt x="233" y="337"/>
                </a:cubicBezTo>
                <a:cubicBezTo>
                  <a:pt x="227" y="339"/>
                  <a:pt x="224" y="338"/>
                  <a:pt x="220" y="333"/>
                </a:cubicBezTo>
                <a:cubicBezTo>
                  <a:pt x="218" y="329"/>
                  <a:pt x="215" y="325"/>
                  <a:pt x="212" y="322"/>
                </a:cubicBezTo>
                <a:cubicBezTo>
                  <a:pt x="209" y="318"/>
                  <a:pt x="205" y="317"/>
                  <a:pt x="201" y="318"/>
                </a:cubicBezTo>
                <a:cubicBezTo>
                  <a:pt x="196" y="318"/>
                  <a:pt x="192" y="319"/>
                  <a:pt x="187" y="320"/>
                </a:cubicBezTo>
                <a:cubicBezTo>
                  <a:pt x="182" y="321"/>
                  <a:pt x="179" y="324"/>
                  <a:pt x="177" y="328"/>
                </a:cubicBezTo>
                <a:cubicBezTo>
                  <a:pt x="175" y="333"/>
                  <a:pt x="173" y="338"/>
                  <a:pt x="171" y="343"/>
                </a:cubicBezTo>
                <a:cubicBezTo>
                  <a:pt x="169" y="347"/>
                  <a:pt x="167" y="350"/>
                  <a:pt x="162" y="349"/>
                </a:cubicBezTo>
                <a:cubicBezTo>
                  <a:pt x="155" y="348"/>
                  <a:pt x="147" y="348"/>
                  <a:pt x="140" y="346"/>
                </a:cubicBezTo>
                <a:cubicBezTo>
                  <a:pt x="137" y="345"/>
                  <a:pt x="135" y="341"/>
                  <a:pt x="134" y="338"/>
                </a:cubicBezTo>
                <a:cubicBezTo>
                  <a:pt x="133" y="333"/>
                  <a:pt x="133" y="328"/>
                  <a:pt x="133" y="324"/>
                </a:cubicBezTo>
                <a:cubicBezTo>
                  <a:pt x="132" y="318"/>
                  <a:pt x="129" y="313"/>
                  <a:pt x="123" y="312"/>
                </a:cubicBezTo>
                <a:cubicBezTo>
                  <a:pt x="119" y="310"/>
                  <a:pt x="116" y="309"/>
                  <a:pt x="113" y="308"/>
                </a:cubicBezTo>
                <a:cubicBezTo>
                  <a:pt x="108" y="306"/>
                  <a:pt x="104" y="307"/>
                  <a:pt x="101" y="310"/>
                </a:cubicBezTo>
                <a:cubicBezTo>
                  <a:pt x="96" y="314"/>
                  <a:pt x="92" y="317"/>
                  <a:pt x="87" y="321"/>
                </a:cubicBezTo>
                <a:cubicBezTo>
                  <a:pt x="84" y="323"/>
                  <a:pt x="81" y="323"/>
                  <a:pt x="78" y="320"/>
                </a:cubicBezTo>
                <a:cubicBezTo>
                  <a:pt x="72" y="316"/>
                  <a:pt x="66" y="312"/>
                  <a:pt x="61" y="307"/>
                </a:cubicBezTo>
                <a:cubicBezTo>
                  <a:pt x="57" y="304"/>
                  <a:pt x="58" y="299"/>
                  <a:pt x="60" y="295"/>
                </a:cubicBezTo>
                <a:cubicBezTo>
                  <a:pt x="62" y="291"/>
                  <a:pt x="63" y="287"/>
                  <a:pt x="65" y="283"/>
                </a:cubicBezTo>
                <a:cubicBezTo>
                  <a:pt x="67" y="278"/>
                  <a:pt x="66" y="274"/>
                  <a:pt x="64" y="271"/>
                </a:cubicBezTo>
                <a:cubicBezTo>
                  <a:pt x="60" y="266"/>
                  <a:pt x="57" y="262"/>
                  <a:pt x="53" y="258"/>
                </a:cubicBezTo>
                <a:cubicBezTo>
                  <a:pt x="51" y="254"/>
                  <a:pt x="47" y="253"/>
                  <a:pt x="43" y="253"/>
                </a:cubicBezTo>
                <a:cubicBezTo>
                  <a:pt x="38" y="254"/>
                  <a:pt x="33" y="254"/>
                  <a:pt x="28" y="255"/>
                </a:cubicBezTo>
                <a:cubicBezTo>
                  <a:pt x="22" y="257"/>
                  <a:pt x="18" y="255"/>
                  <a:pt x="15" y="249"/>
                </a:cubicBezTo>
                <a:cubicBezTo>
                  <a:pt x="13" y="244"/>
                  <a:pt x="10" y="239"/>
                  <a:pt x="8" y="233"/>
                </a:cubicBezTo>
                <a:cubicBezTo>
                  <a:pt x="6" y="229"/>
                  <a:pt x="7" y="225"/>
                  <a:pt x="11" y="222"/>
                </a:cubicBezTo>
                <a:cubicBezTo>
                  <a:pt x="15" y="218"/>
                  <a:pt x="20" y="214"/>
                  <a:pt x="25" y="211"/>
                </a:cubicBezTo>
                <a:cubicBezTo>
                  <a:pt x="29" y="208"/>
                  <a:pt x="30" y="204"/>
                  <a:pt x="30" y="199"/>
                </a:cubicBezTo>
                <a:cubicBezTo>
                  <a:pt x="29" y="195"/>
                  <a:pt x="28" y="192"/>
                  <a:pt x="28" y="189"/>
                </a:cubicBezTo>
                <a:cubicBezTo>
                  <a:pt x="28" y="180"/>
                  <a:pt x="23" y="176"/>
                  <a:pt x="16" y="174"/>
                </a:cubicBezTo>
                <a:cubicBezTo>
                  <a:pt x="13" y="173"/>
                  <a:pt x="10" y="171"/>
                  <a:pt x="7" y="170"/>
                </a:cubicBezTo>
                <a:cubicBezTo>
                  <a:pt x="2" y="169"/>
                  <a:pt x="0" y="166"/>
                  <a:pt x="0" y="162"/>
                </a:cubicBezTo>
                <a:cubicBezTo>
                  <a:pt x="1" y="155"/>
                  <a:pt x="1" y="149"/>
                  <a:pt x="2" y="142"/>
                </a:cubicBezTo>
                <a:cubicBezTo>
                  <a:pt x="2" y="136"/>
                  <a:pt x="5" y="134"/>
                  <a:pt x="11" y="133"/>
                </a:cubicBezTo>
                <a:cubicBezTo>
                  <a:pt x="17" y="132"/>
                  <a:pt x="23" y="132"/>
                  <a:pt x="28" y="131"/>
                </a:cubicBezTo>
                <a:cubicBezTo>
                  <a:pt x="32" y="130"/>
                  <a:pt x="35" y="128"/>
                  <a:pt x="36" y="124"/>
                </a:cubicBezTo>
                <a:cubicBezTo>
                  <a:pt x="38" y="120"/>
                  <a:pt x="40" y="117"/>
                  <a:pt x="41" y="113"/>
                </a:cubicBezTo>
                <a:cubicBezTo>
                  <a:pt x="42" y="109"/>
                  <a:pt x="42" y="105"/>
                  <a:pt x="39" y="101"/>
                </a:cubicBezTo>
                <a:cubicBezTo>
                  <a:pt x="36" y="97"/>
                  <a:pt x="32" y="93"/>
                  <a:pt x="29" y="88"/>
                </a:cubicBezTo>
                <a:cubicBezTo>
                  <a:pt x="26" y="84"/>
                  <a:pt x="26" y="80"/>
                  <a:pt x="29" y="76"/>
                </a:cubicBezTo>
                <a:cubicBezTo>
                  <a:pt x="32" y="71"/>
                  <a:pt x="36" y="66"/>
                  <a:pt x="39" y="62"/>
                </a:cubicBezTo>
                <a:cubicBezTo>
                  <a:pt x="42" y="57"/>
                  <a:pt x="46" y="56"/>
                  <a:pt x="52" y="58"/>
                </a:cubicBezTo>
                <a:cubicBezTo>
                  <a:pt x="57" y="60"/>
                  <a:pt x="62" y="62"/>
                  <a:pt x="66" y="65"/>
                </a:cubicBezTo>
                <a:cubicBezTo>
                  <a:pt x="70" y="67"/>
                  <a:pt x="74" y="66"/>
                  <a:pt x="77" y="64"/>
                </a:cubicBezTo>
                <a:cubicBezTo>
                  <a:pt x="78" y="63"/>
                  <a:pt x="79" y="63"/>
                  <a:pt x="79" y="62"/>
                </a:cubicBezTo>
                <a:cubicBezTo>
                  <a:pt x="94" y="51"/>
                  <a:pt x="94" y="51"/>
                  <a:pt x="90" y="30"/>
                </a:cubicBezTo>
                <a:cubicBezTo>
                  <a:pt x="89" y="23"/>
                  <a:pt x="91" y="20"/>
                  <a:pt x="97" y="17"/>
                </a:cubicBezTo>
                <a:cubicBezTo>
                  <a:pt x="102" y="15"/>
                  <a:pt x="107" y="13"/>
                  <a:pt x="112" y="11"/>
                </a:cubicBezTo>
                <a:cubicBezTo>
                  <a:pt x="117" y="8"/>
                  <a:pt x="120" y="9"/>
                  <a:pt x="124" y="13"/>
                </a:cubicBezTo>
                <a:cubicBezTo>
                  <a:pt x="127" y="17"/>
                  <a:pt x="130" y="22"/>
                  <a:pt x="133" y="26"/>
                </a:cubicBezTo>
                <a:cubicBezTo>
                  <a:pt x="138" y="31"/>
                  <a:pt x="142" y="32"/>
                  <a:pt x="148" y="31"/>
                </a:cubicBezTo>
                <a:cubicBezTo>
                  <a:pt x="152" y="29"/>
                  <a:pt x="156" y="29"/>
                  <a:pt x="160" y="29"/>
                </a:cubicBezTo>
                <a:cubicBezTo>
                  <a:pt x="166" y="28"/>
                  <a:pt x="170" y="26"/>
                  <a:pt x="172" y="21"/>
                </a:cubicBezTo>
                <a:cubicBezTo>
                  <a:pt x="173" y="16"/>
                  <a:pt x="175" y="11"/>
                  <a:pt x="177" y="6"/>
                </a:cubicBezTo>
                <a:cubicBezTo>
                  <a:pt x="179" y="2"/>
                  <a:pt x="182" y="0"/>
                  <a:pt x="187" y="0"/>
                </a:cubicBezTo>
                <a:cubicBezTo>
                  <a:pt x="194" y="1"/>
                  <a:pt x="201" y="2"/>
                  <a:pt x="208" y="3"/>
                </a:cubicBezTo>
                <a:cubicBezTo>
                  <a:pt x="212" y="3"/>
                  <a:pt x="214" y="6"/>
                  <a:pt x="214" y="11"/>
                </a:cubicBezTo>
                <a:cubicBezTo>
                  <a:pt x="215" y="17"/>
                  <a:pt x="216" y="23"/>
                  <a:pt x="217" y="29"/>
                </a:cubicBezTo>
                <a:cubicBezTo>
                  <a:pt x="218" y="34"/>
                  <a:pt x="221" y="36"/>
                  <a:pt x="225" y="38"/>
                </a:cubicBezTo>
                <a:cubicBezTo>
                  <a:pt x="228" y="39"/>
                  <a:pt x="231" y="40"/>
                  <a:pt x="234" y="41"/>
                </a:cubicBezTo>
                <a:cubicBezTo>
                  <a:pt x="239" y="45"/>
                  <a:pt x="244" y="43"/>
                  <a:pt x="248" y="40"/>
                </a:cubicBezTo>
                <a:cubicBezTo>
                  <a:pt x="252" y="37"/>
                  <a:pt x="256" y="34"/>
                  <a:pt x="259" y="31"/>
                </a:cubicBezTo>
                <a:cubicBezTo>
                  <a:pt x="264" y="27"/>
                  <a:pt x="268" y="27"/>
                  <a:pt x="273" y="31"/>
                </a:cubicBezTo>
                <a:cubicBezTo>
                  <a:pt x="277" y="34"/>
                  <a:pt x="281" y="37"/>
                  <a:pt x="285" y="41"/>
                </a:cubicBezTo>
                <a:cubicBezTo>
                  <a:pt x="290" y="45"/>
                  <a:pt x="291" y="49"/>
                  <a:pt x="288" y="55"/>
                </a:cubicBezTo>
                <a:cubicBezTo>
                  <a:pt x="286" y="59"/>
                  <a:pt x="284" y="64"/>
                  <a:pt x="283" y="68"/>
                </a:cubicBezTo>
                <a:cubicBezTo>
                  <a:pt x="282" y="71"/>
                  <a:pt x="282" y="74"/>
                  <a:pt x="283" y="76"/>
                </a:cubicBezTo>
                <a:cubicBezTo>
                  <a:pt x="286" y="81"/>
                  <a:pt x="290" y="86"/>
                  <a:pt x="295" y="91"/>
                </a:cubicBezTo>
                <a:cubicBezTo>
                  <a:pt x="296" y="93"/>
                  <a:pt x="299" y="93"/>
                  <a:pt x="301" y="94"/>
                </a:cubicBezTo>
                <a:close/>
                <a:moveTo>
                  <a:pt x="174" y="63"/>
                </a:moveTo>
                <a:cubicBezTo>
                  <a:pt x="112" y="63"/>
                  <a:pt x="62" y="113"/>
                  <a:pt x="62" y="174"/>
                </a:cubicBezTo>
                <a:cubicBezTo>
                  <a:pt x="62" y="236"/>
                  <a:pt x="112" y="285"/>
                  <a:pt x="173" y="286"/>
                </a:cubicBezTo>
                <a:cubicBezTo>
                  <a:pt x="235" y="286"/>
                  <a:pt x="285" y="236"/>
                  <a:pt x="285" y="174"/>
                </a:cubicBezTo>
                <a:cubicBezTo>
                  <a:pt x="285" y="112"/>
                  <a:pt x="234" y="63"/>
                  <a:pt x="174" y="63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16274" tIns="8138" rIns="16274" bIns="8138" numCol="1" anchor="t" anchorCtr="0" compatLnSpc="1">
            <a:prstTxWarp prst="textNoShape">
              <a:avLst/>
            </a:prstTxWarp>
          </a:bodyPr>
          <a:lstStyle/>
          <a:p>
            <a:endParaRPr lang="en-US" sz="569" dirty="0">
              <a:solidFill>
                <a:prstClr val="black"/>
              </a:solidFill>
            </a:endParaRPr>
          </a:p>
        </p:txBody>
      </p:sp>
      <p:sp>
        <p:nvSpPr>
          <p:cNvPr id="19" name="Freeform 5"/>
          <p:cNvSpPr>
            <a:spLocks noEditPoints="1"/>
          </p:cNvSpPr>
          <p:nvPr/>
        </p:nvSpPr>
        <p:spPr bwMode="auto">
          <a:xfrm>
            <a:off x="2295764" y="5128164"/>
            <a:ext cx="1484148" cy="1425694"/>
          </a:xfrm>
          <a:custGeom>
            <a:avLst/>
            <a:gdLst>
              <a:gd name="T0" fmla="*/ 320 w 349"/>
              <a:gd name="T1" fmla="*/ 91 h 350"/>
              <a:gd name="T2" fmla="*/ 337 w 349"/>
              <a:gd name="T3" fmla="*/ 115 h 350"/>
              <a:gd name="T4" fmla="*/ 323 w 349"/>
              <a:gd name="T5" fmla="*/ 133 h 350"/>
              <a:gd name="T6" fmla="*/ 318 w 349"/>
              <a:gd name="T7" fmla="*/ 157 h 350"/>
              <a:gd name="T8" fmla="*/ 338 w 349"/>
              <a:gd name="T9" fmla="*/ 177 h 350"/>
              <a:gd name="T10" fmla="*/ 344 w 349"/>
              <a:gd name="T11" fmla="*/ 208 h 350"/>
              <a:gd name="T12" fmla="*/ 322 w 349"/>
              <a:gd name="T13" fmla="*/ 217 h 350"/>
              <a:gd name="T14" fmla="*/ 306 w 349"/>
              <a:gd name="T15" fmla="*/ 236 h 350"/>
              <a:gd name="T16" fmla="*/ 317 w 349"/>
              <a:gd name="T17" fmla="*/ 260 h 350"/>
              <a:gd name="T18" fmla="*/ 307 w 349"/>
              <a:gd name="T19" fmla="*/ 286 h 350"/>
              <a:gd name="T20" fmla="*/ 279 w 349"/>
              <a:gd name="T21" fmla="*/ 283 h 350"/>
              <a:gd name="T22" fmla="*/ 258 w 349"/>
              <a:gd name="T23" fmla="*/ 294 h 350"/>
              <a:gd name="T24" fmla="*/ 256 w 349"/>
              <a:gd name="T25" fmla="*/ 321 h 350"/>
              <a:gd name="T26" fmla="*/ 233 w 349"/>
              <a:gd name="T27" fmla="*/ 337 h 350"/>
              <a:gd name="T28" fmla="*/ 212 w 349"/>
              <a:gd name="T29" fmla="*/ 322 h 350"/>
              <a:gd name="T30" fmla="*/ 187 w 349"/>
              <a:gd name="T31" fmla="*/ 320 h 350"/>
              <a:gd name="T32" fmla="*/ 171 w 349"/>
              <a:gd name="T33" fmla="*/ 343 h 350"/>
              <a:gd name="T34" fmla="*/ 140 w 349"/>
              <a:gd name="T35" fmla="*/ 346 h 350"/>
              <a:gd name="T36" fmla="*/ 133 w 349"/>
              <a:gd name="T37" fmla="*/ 324 h 350"/>
              <a:gd name="T38" fmla="*/ 113 w 349"/>
              <a:gd name="T39" fmla="*/ 308 h 350"/>
              <a:gd name="T40" fmla="*/ 87 w 349"/>
              <a:gd name="T41" fmla="*/ 321 h 350"/>
              <a:gd name="T42" fmla="*/ 61 w 349"/>
              <a:gd name="T43" fmla="*/ 307 h 350"/>
              <a:gd name="T44" fmla="*/ 65 w 349"/>
              <a:gd name="T45" fmla="*/ 283 h 350"/>
              <a:gd name="T46" fmla="*/ 53 w 349"/>
              <a:gd name="T47" fmla="*/ 258 h 350"/>
              <a:gd name="T48" fmla="*/ 28 w 349"/>
              <a:gd name="T49" fmla="*/ 255 h 350"/>
              <a:gd name="T50" fmla="*/ 8 w 349"/>
              <a:gd name="T51" fmla="*/ 233 h 350"/>
              <a:gd name="T52" fmla="*/ 25 w 349"/>
              <a:gd name="T53" fmla="*/ 211 h 350"/>
              <a:gd name="T54" fmla="*/ 28 w 349"/>
              <a:gd name="T55" fmla="*/ 189 h 350"/>
              <a:gd name="T56" fmla="*/ 7 w 349"/>
              <a:gd name="T57" fmla="*/ 170 h 350"/>
              <a:gd name="T58" fmla="*/ 2 w 349"/>
              <a:gd name="T59" fmla="*/ 142 h 350"/>
              <a:gd name="T60" fmla="*/ 28 w 349"/>
              <a:gd name="T61" fmla="*/ 131 h 350"/>
              <a:gd name="T62" fmla="*/ 41 w 349"/>
              <a:gd name="T63" fmla="*/ 113 h 350"/>
              <a:gd name="T64" fmla="*/ 29 w 349"/>
              <a:gd name="T65" fmla="*/ 88 h 350"/>
              <a:gd name="T66" fmla="*/ 39 w 349"/>
              <a:gd name="T67" fmla="*/ 62 h 350"/>
              <a:gd name="T68" fmla="*/ 66 w 349"/>
              <a:gd name="T69" fmla="*/ 65 h 350"/>
              <a:gd name="T70" fmla="*/ 79 w 349"/>
              <a:gd name="T71" fmla="*/ 62 h 350"/>
              <a:gd name="T72" fmla="*/ 97 w 349"/>
              <a:gd name="T73" fmla="*/ 17 h 350"/>
              <a:gd name="T74" fmla="*/ 124 w 349"/>
              <a:gd name="T75" fmla="*/ 13 h 350"/>
              <a:gd name="T76" fmla="*/ 148 w 349"/>
              <a:gd name="T77" fmla="*/ 31 h 350"/>
              <a:gd name="T78" fmla="*/ 172 w 349"/>
              <a:gd name="T79" fmla="*/ 21 h 350"/>
              <a:gd name="T80" fmla="*/ 187 w 349"/>
              <a:gd name="T81" fmla="*/ 0 h 350"/>
              <a:gd name="T82" fmla="*/ 214 w 349"/>
              <a:gd name="T83" fmla="*/ 11 h 350"/>
              <a:gd name="T84" fmla="*/ 225 w 349"/>
              <a:gd name="T85" fmla="*/ 38 h 350"/>
              <a:gd name="T86" fmla="*/ 248 w 349"/>
              <a:gd name="T87" fmla="*/ 40 h 350"/>
              <a:gd name="T88" fmla="*/ 273 w 349"/>
              <a:gd name="T89" fmla="*/ 31 h 350"/>
              <a:gd name="T90" fmla="*/ 288 w 349"/>
              <a:gd name="T91" fmla="*/ 55 h 350"/>
              <a:gd name="T92" fmla="*/ 283 w 349"/>
              <a:gd name="T93" fmla="*/ 76 h 350"/>
              <a:gd name="T94" fmla="*/ 301 w 349"/>
              <a:gd name="T95" fmla="*/ 94 h 350"/>
              <a:gd name="T96" fmla="*/ 62 w 349"/>
              <a:gd name="T97" fmla="*/ 174 h 350"/>
              <a:gd name="T98" fmla="*/ 285 w 349"/>
              <a:gd name="T99" fmla="*/ 174 h 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49" h="350">
                <a:moveTo>
                  <a:pt x="301" y="94"/>
                </a:moveTo>
                <a:cubicBezTo>
                  <a:pt x="308" y="93"/>
                  <a:pt x="314" y="92"/>
                  <a:pt x="320" y="91"/>
                </a:cubicBezTo>
                <a:cubicBezTo>
                  <a:pt x="324" y="90"/>
                  <a:pt x="328" y="92"/>
                  <a:pt x="330" y="96"/>
                </a:cubicBezTo>
                <a:cubicBezTo>
                  <a:pt x="332" y="102"/>
                  <a:pt x="335" y="109"/>
                  <a:pt x="337" y="115"/>
                </a:cubicBezTo>
                <a:cubicBezTo>
                  <a:pt x="339" y="119"/>
                  <a:pt x="337" y="122"/>
                  <a:pt x="335" y="125"/>
                </a:cubicBezTo>
                <a:cubicBezTo>
                  <a:pt x="331" y="128"/>
                  <a:pt x="327" y="130"/>
                  <a:pt x="323" y="133"/>
                </a:cubicBezTo>
                <a:cubicBezTo>
                  <a:pt x="317" y="138"/>
                  <a:pt x="316" y="141"/>
                  <a:pt x="317" y="149"/>
                </a:cubicBezTo>
                <a:cubicBezTo>
                  <a:pt x="318" y="151"/>
                  <a:pt x="318" y="154"/>
                  <a:pt x="318" y="157"/>
                </a:cubicBezTo>
                <a:cubicBezTo>
                  <a:pt x="318" y="168"/>
                  <a:pt x="324" y="173"/>
                  <a:pt x="333" y="176"/>
                </a:cubicBezTo>
                <a:cubicBezTo>
                  <a:pt x="335" y="176"/>
                  <a:pt x="336" y="177"/>
                  <a:pt x="338" y="177"/>
                </a:cubicBezTo>
                <a:cubicBezTo>
                  <a:pt x="349" y="182"/>
                  <a:pt x="347" y="184"/>
                  <a:pt x="346" y="194"/>
                </a:cubicBezTo>
                <a:cubicBezTo>
                  <a:pt x="346" y="199"/>
                  <a:pt x="345" y="203"/>
                  <a:pt x="344" y="208"/>
                </a:cubicBezTo>
                <a:cubicBezTo>
                  <a:pt x="343" y="212"/>
                  <a:pt x="340" y="215"/>
                  <a:pt x="336" y="215"/>
                </a:cubicBezTo>
                <a:cubicBezTo>
                  <a:pt x="331" y="216"/>
                  <a:pt x="327" y="216"/>
                  <a:pt x="322" y="217"/>
                </a:cubicBezTo>
                <a:cubicBezTo>
                  <a:pt x="317" y="217"/>
                  <a:pt x="313" y="220"/>
                  <a:pt x="310" y="225"/>
                </a:cubicBezTo>
                <a:cubicBezTo>
                  <a:pt x="309" y="229"/>
                  <a:pt x="308" y="232"/>
                  <a:pt x="306" y="236"/>
                </a:cubicBezTo>
                <a:cubicBezTo>
                  <a:pt x="304" y="241"/>
                  <a:pt x="305" y="245"/>
                  <a:pt x="308" y="249"/>
                </a:cubicBezTo>
                <a:cubicBezTo>
                  <a:pt x="311" y="253"/>
                  <a:pt x="314" y="256"/>
                  <a:pt x="317" y="260"/>
                </a:cubicBezTo>
                <a:cubicBezTo>
                  <a:pt x="321" y="265"/>
                  <a:pt x="321" y="269"/>
                  <a:pt x="317" y="274"/>
                </a:cubicBezTo>
                <a:cubicBezTo>
                  <a:pt x="313" y="278"/>
                  <a:pt x="310" y="282"/>
                  <a:pt x="307" y="286"/>
                </a:cubicBezTo>
                <a:cubicBezTo>
                  <a:pt x="302" y="292"/>
                  <a:pt x="299" y="292"/>
                  <a:pt x="293" y="289"/>
                </a:cubicBezTo>
                <a:cubicBezTo>
                  <a:pt x="288" y="287"/>
                  <a:pt x="284" y="285"/>
                  <a:pt x="279" y="283"/>
                </a:cubicBezTo>
                <a:cubicBezTo>
                  <a:pt x="275" y="282"/>
                  <a:pt x="271" y="284"/>
                  <a:pt x="268" y="286"/>
                </a:cubicBezTo>
                <a:cubicBezTo>
                  <a:pt x="264" y="289"/>
                  <a:pt x="261" y="291"/>
                  <a:pt x="258" y="294"/>
                </a:cubicBezTo>
                <a:cubicBezTo>
                  <a:pt x="254" y="297"/>
                  <a:pt x="253" y="301"/>
                  <a:pt x="254" y="306"/>
                </a:cubicBezTo>
                <a:cubicBezTo>
                  <a:pt x="255" y="311"/>
                  <a:pt x="255" y="316"/>
                  <a:pt x="256" y="321"/>
                </a:cubicBezTo>
                <a:cubicBezTo>
                  <a:pt x="256" y="326"/>
                  <a:pt x="254" y="329"/>
                  <a:pt x="251" y="330"/>
                </a:cubicBezTo>
                <a:cubicBezTo>
                  <a:pt x="245" y="333"/>
                  <a:pt x="239" y="335"/>
                  <a:pt x="233" y="337"/>
                </a:cubicBezTo>
                <a:cubicBezTo>
                  <a:pt x="227" y="339"/>
                  <a:pt x="224" y="338"/>
                  <a:pt x="220" y="333"/>
                </a:cubicBezTo>
                <a:cubicBezTo>
                  <a:pt x="218" y="329"/>
                  <a:pt x="215" y="325"/>
                  <a:pt x="212" y="322"/>
                </a:cubicBezTo>
                <a:cubicBezTo>
                  <a:pt x="209" y="318"/>
                  <a:pt x="205" y="317"/>
                  <a:pt x="201" y="318"/>
                </a:cubicBezTo>
                <a:cubicBezTo>
                  <a:pt x="196" y="318"/>
                  <a:pt x="192" y="319"/>
                  <a:pt x="187" y="320"/>
                </a:cubicBezTo>
                <a:cubicBezTo>
                  <a:pt x="182" y="321"/>
                  <a:pt x="179" y="324"/>
                  <a:pt x="177" y="328"/>
                </a:cubicBezTo>
                <a:cubicBezTo>
                  <a:pt x="175" y="333"/>
                  <a:pt x="173" y="338"/>
                  <a:pt x="171" y="343"/>
                </a:cubicBezTo>
                <a:cubicBezTo>
                  <a:pt x="169" y="347"/>
                  <a:pt x="167" y="350"/>
                  <a:pt x="162" y="349"/>
                </a:cubicBezTo>
                <a:cubicBezTo>
                  <a:pt x="155" y="348"/>
                  <a:pt x="147" y="348"/>
                  <a:pt x="140" y="346"/>
                </a:cubicBezTo>
                <a:cubicBezTo>
                  <a:pt x="137" y="345"/>
                  <a:pt x="135" y="341"/>
                  <a:pt x="134" y="338"/>
                </a:cubicBezTo>
                <a:cubicBezTo>
                  <a:pt x="133" y="333"/>
                  <a:pt x="133" y="328"/>
                  <a:pt x="133" y="324"/>
                </a:cubicBezTo>
                <a:cubicBezTo>
                  <a:pt x="132" y="318"/>
                  <a:pt x="129" y="313"/>
                  <a:pt x="123" y="312"/>
                </a:cubicBezTo>
                <a:cubicBezTo>
                  <a:pt x="119" y="310"/>
                  <a:pt x="116" y="309"/>
                  <a:pt x="113" y="308"/>
                </a:cubicBezTo>
                <a:cubicBezTo>
                  <a:pt x="108" y="306"/>
                  <a:pt x="104" y="307"/>
                  <a:pt x="101" y="310"/>
                </a:cubicBezTo>
                <a:cubicBezTo>
                  <a:pt x="96" y="314"/>
                  <a:pt x="92" y="317"/>
                  <a:pt x="87" y="321"/>
                </a:cubicBezTo>
                <a:cubicBezTo>
                  <a:pt x="84" y="323"/>
                  <a:pt x="81" y="323"/>
                  <a:pt x="78" y="320"/>
                </a:cubicBezTo>
                <a:cubicBezTo>
                  <a:pt x="72" y="316"/>
                  <a:pt x="66" y="312"/>
                  <a:pt x="61" y="307"/>
                </a:cubicBezTo>
                <a:cubicBezTo>
                  <a:pt x="57" y="304"/>
                  <a:pt x="58" y="299"/>
                  <a:pt x="60" y="295"/>
                </a:cubicBezTo>
                <a:cubicBezTo>
                  <a:pt x="62" y="291"/>
                  <a:pt x="63" y="287"/>
                  <a:pt x="65" y="283"/>
                </a:cubicBezTo>
                <a:cubicBezTo>
                  <a:pt x="67" y="278"/>
                  <a:pt x="66" y="274"/>
                  <a:pt x="64" y="271"/>
                </a:cubicBezTo>
                <a:cubicBezTo>
                  <a:pt x="60" y="266"/>
                  <a:pt x="57" y="262"/>
                  <a:pt x="53" y="258"/>
                </a:cubicBezTo>
                <a:cubicBezTo>
                  <a:pt x="51" y="254"/>
                  <a:pt x="47" y="253"/>
                  <a:pt x="43" y="253"/>
                </a:cubicBezTo>
                <a:cubicBezTo>
                  <a:pt x="38" y="254"/>
                  <a:pt x="33" y="254"/>
                  <a:pt x="28" y="255"/>
                </a:cubicBezTo>
                <a:cubicBezTo>
                  <a:pt x="22" y="257"/>
                  <a:pt x="18" y="255"/>
                  <a:pt x="15" y="249"/>
                </a:cubicBezTo>
                <a:cubicBezTo>
                  <a:pt x="13" y="244"/>
                  <a:pt x="10" y="239"/>
                  <a:pt x="8" y="233"/>
                </a:cubicBezTo>
                <a:cubicBezTo>
                  <a:pt x="6" y="229"/>
                  <a:pt x="7" y="225"/>
                  <a:pt x="11" y="222"/>
                </a:cubicBezTo>
                <a:cubicBezTo>
                  <a:pt x="15" y="218"/>
                  <a:pt x="20" y="214"/>
                  <a:pt x="25" y="211"/>
                </a:cubicBezTo>
                <a:cubicBezTo>
                  <a:pt x="29" y="208"/>
                  <a:pt x="30" y="204"/>
                  <a:pt x="30" y="199"/>
                </a:cubicBezTo>
                <a:cubicBezTo>
                  <a:pt x="29" y="195"/>
                  <a:pt x="28" y="192"/>
                  <a:pt x="28" y="189"/>
                </a:cubicBezTo>
                <a:cubicBezTo>
                  <a:pt x="28" y="180"/>
                  <a:pt x="23" y="176"/>
                  <a:pt x="16" y="174"/>
                </a:cubicBezTo>
                <a:cubicBezTo>
                  <a:pt x="13" y="173"/>
                  <a:pt x="10" y="171"/>
                  <a:pt x="7" y="170"/>
                </a:cubicBezTo>
                <a:cubicBezTo>
                  <a:pt x="2" y="169"/>
                  <a:pt x="0" y="166"/>
                  <a:pt x="0" y="162"/>
                </a:cubicBezTo>
                <a:cubicBezTo>
                  <a:pt x="1" y="155"/>
                  <a:pt x="1" y="149"/>
                  <a:pt x="2" y="142"/>
                </a:cubicBezTo>
                <a:cubicBezTo>
                  <a:pt x="2" y="136"/>
                  <a:pt x="5" y="134"/>
                  <a:pt x="11" y="133"/>
                </a:cubicBezTo>
                <a:cubicBezTo>
                  <a:pt x="17" y="132"/>
                  <a:pt x="23" y="132"/>
                  <a:pt x="28" y="131"/>
                </a:cubicBezTo>
                <a:cubicBezTo>
                  <a:pt x="32" y="130"/>
                  <a:pt x="35" y="128"/>
                  <a:pt x="36" y="124"/>
                </a:cubicBezTo>
                <a:cubicBezTo>
                  <a:pt x="38" y="120"/>
                  <a:pt x="40" y="117"/>
                  <a:pt x="41" y="113"/>
                </a:cubicBezTo>
                <a:cubicBezTo>
                  <a:pt x="42" y="109"/>
                  <a:pt x="42" y="105"/>
                  <a:pt x="39" y="101"/>
                </a:cubicBezTo>
                <a:cubicBezTo>
                  <a:pt x="36" y="97"/>
                  <a:pt x="32" y="93"/>
                  <a:pt x="29" y="88"/>
                </a:cubicBezTo>
                <a:cubicBezTo>
                  <a:pt x="26" y="84"/>
                  <a:pt x="26" y="80"/>
                  <a:pt x="29" y="76"/>
                </a:cubicBezTo>
                <a:cubicBezTo>
                  <a:pt x="32" y="71"/>
                  <a:pt x="36" y="66"/>
                  <a:pt x="39" y="62"/>
                </a:cubicBezTo>
                <a:cubicBezTo>
                  <a:pt x="42" y="57"/>
                  <a:pt x="46" y="56"/>
                  <a:pt x="52" y="58"/>
                </a:cubicBezTo>
                <a:cubicBezTo>
                  <a:pt x="57" y="60"/>
                  <a:pt x="62" y="62"/>
                  <a:pt x="66" y="65"/>
                </a:cubicBezTo>
                <a:cubicBezTo>
                  <a:pt x="70" y="67"/>
                  <a:pt x="74" y="66"/>
                  <a:pt x="77" y="64"/>
                </a:cubicBezTo>
                <a:cubicBezTo>
                  <a:pt x="78" y="63"/>
                  <a:pt x="79" y="63"/>
                  <a:pt x="79" y="62"/>
                </a:cubicBezTo>
                <a:cubicBezTo>
                  <a:pt x="94" y="51"/>
                  <a:pt x="94" y="51"/>
                  <a:pt x="90" y="30"/>
                </a:cubicBezTo>
                <a:cubicBezTo>
                  <a:pt x="89" y="23"/>
                  <a:pt x="91" y="20"/>
                  <a:pt x="97" y="17"/>
                </a:cubicBezTo>
                <a:cubicBezTo>
                  <a:pt x="102" y="15"/>
                  <a:pt x="107" y="13"/>
                  <a:pt x="112" y="11"/>
                </a:cubicBezTo>
                <a:cubicBezTo>
                  <a:pt x="117" y="8"/>
                  <a:pt x="120" y="9"/>
                  <a:pt x="124" y="13"/>
                </a:cubicBezTo>
                <a:cubicBezTo>
                  <a:pt x="127" y="17"/>
                  <a:pt x="130" y="22"/>
                  <a:pt x="133" y="26"/>
                </a:cubicBezTo>
                <a:cubicBezTo>
                  <a:pt x="138" y="31"/>
                  <a:pt x="142" y="32"/>
                  <a:pt x="148" y="31"/>
                </a:cubicBezTo>
                <a:cubicBezTo>
                  <a:pt x="152" y="29"/>
                  <a:pt x="156" y="29"/>
                  <a:pt x="160" y="29"/>
                </a:cubicBezTo>
                <a:cubicBezTo>
                  <a:pt x="166" y="28"/>
                  <a:pt x="170" y="26"/>
                  <a:pt x="172" y="21"/>
                </a:cubicBezTo>
                <a:cubicBezTo>
                  <a:pt x="173" y="16"/>
                  <a:pt x="175" y="11"/>
                  <a:pt x="177" y="6"/>
                </a:cubicBezTo>
                <a:cubicBezTo>
                  <a:pt x="179" y="2"/>
                  <a:pt x="182" y="0"/>
                  <a:pt x="187" y="0"/>
                </a:cubicBezTo>
                <a:cubicBezTo>
                  <a:pt x="194" y="1"/>
                  <a:pt x="201" y="2"/>
                  <a:pt x="208" y="3"/>
                </a:cubicBezTo>
                <a:cubicBezTo>
                  <a:pt x="212" y="3"/>
                  <a:pt x="214" y="6"/>
                  <a:pt x="214" y="11"/>
                </a:cubicBezTo>
                <a:cubicBezTo>
                  <a:pt x="215" y="17"/>
                  <a:pt x="216" y="23"/>
                  <a:pt x="217" y="29"/>
                </a:cubicBezTo>
                <a:cubicBezTo>
                  <a:pt x="218" y="34"/>
                  <a:pt x="221" y="36"/>
                  <a:pt x="225" y="38"/>
                </a:cubicBezTo>
                <a:cubicBezTo>
                  <a:pt x="228" y="39"/>
                  <a:pt x="231" y="40"/>
                  <a:pt x="234" y="41"/>
                </a:cubicBezTo>
                <a:cubicBezTo>
                  <a:pt x="239" y="45"/>
                  <a:pt x="244" y="43"/>
                  <a:pt x="248" y="40"/>
                </a:cubicBezTo>
                <a:cubicBezTo>
                  <a:pt x="252" y="37"/>
                  <a:pt x="256" y="34"/>
                  <a:pt x="259" y="31"/>
                </a:cubicBezTo>
                <a:cubicBezTo>
                  <a:pt x="264" y="27"/>
                  <a:pt x="268" y="27"/>
                  <a:pt x="273" y="31"/>
                </a:cubicBezTo>
                <a:cubicBezTo>
                  <a:pt x="277" y="34"/>
                  <a:pt x="281" y="37"/>
                  <a:pt x="285" y="41"/>
                </a:cubicBezTo>
                <a:cubicBezTo>
                  <a:pt x="290" y="45"/>
                  <a:pt x="291" y="49"/>
                  <a:pt x="288" y="55"/>
                </a:cubicBezTo>
                <a:cubicBezTo>
                  <a:pt x="286" y="59"/>
                  <a:pt x="284" y="64"/>
                  <a:pt x="283" y="68"/>
                </a:cubicBezTo>
                <a:cubicBezTo>
                  <a:pt x="282" y="71"/>
                  <a:pt x="282" y="74"/>
                  <a:pt x="283" y="76"/>
                </a:cubicBezTo>
                <a:cubicBezTo>
                  <a:pt x="286" y="81"/>
                  <a:pt x="290" y="86"/>
                  <a:pt x="295" y="91"/>
                </a:cubicBezTo>
                <a:cubicBezTo>
                  <a:pt x="296" y="93"/>
                  <a:pt x="299" y="93"/>
                  <a:pt x="301" y="94"/>
                </a:cubicBezTo>
                <a:close/>
                <a:moveTo>
                  <a:pt x="174" y="63"/>
                </a:moveTo>
                <a:cubicBezTo>
                  <a:pt x="112" y="63"/>
                  <a:pt x="62" y="113"/>
                  <a:pt x="62" y="174"/>
                </a:cubicBezTo>
                <a:cubicBezTo>
                  <a:pt x="62" y="236"/>
                  <a:pt x="112" y="285"/>
                  <a:pt x="173" y="286"/>
                </a:cubicBezTo>
                <a:cubicBezTo>
                  <a:pt x="235" y="286"/>
                  <a:pt x="285" y="236"/>
                  <a:pt x="285" y="174"/>
                </a:cubicBezTo>
                <a:cubicBezTo>
                  <a:pt x="285" y="112"/>
                  <a:pt x="234" y="63"/>
                  <a:pt x="174" y="63"/>
                </a:cubicBez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6274" tIns="8138" rIns="16274" bIns="8138" numCol="1" anchor="t" anchorCtr="0" compatLnSpc="1">
            <a:prstTxWarp prst="textNoShape">
              <a:avLst/>
            </a:prstTxWarp>
          </a:bodyPr>
          <a:lstStyle/>
          <a:p>
            <a:endParaRPr lang="en-US" sz="569" dirty="0">
              <a:solidFill>
                <a:prstClr val="black"/>
              </a:solidFill>
            </a:endParaRPr>
          </a:p>
        </p:txBody>
      </p:sp>
      <p:sp>
        <p:nvSpPr>
          <p:cNvPr id="20" name="Freeform 5"/>
          <p:cNvSpPr>
            <a:spLocks noEditPoints="1"/>
          </p:cNvSpPr>
          <p:nvPr/>
        </p:nvSpPr>
        <p:spPr bwMode="auto">
          <a:xfrm>
            <a:off x="3209793" y="1668942"/>
            <a:ext cx="1396462" cy="1287037"/>
          </a:xfrm>
          <a:custGeom>
            <a:avLst/>
            <a:gdLst>
              <a:gd name="T0" fmla="*/ 320 w 349"/>
              <a:gd name="T1" fmla="*/ 91 h 350"/>
              <a:gd name="T2" fmla="*/ 337 w 349"/>
              <a:gd name="T3" fmla="*/ 115 h 350"/>
              <a:gd name="T4" fmla="*/ 323 w 349"/>
              <a:gd name="T5" fmla="*/ 133 h 350"/>
              <a:gd name="T6" fmla="*/ 318 w 349"/>
              <a:gd name="T7" fmla="*/ 157 h 350"/>
              <a:gd name="T8" fmla="*/ 338 w 349"/>
              <a:gd name="T9" fmla="*/ 177 h 350"/>
              <a:gd name="T10" fmla="*/ 344 w 349"/>
              <a:gd name="T11" fmla="*/ 208 h 350"/>
              <a:gd name="T12" fmla="*/ 322 w 349"/>
              <a:gd name="T13" fmla="*/ 217 h 350"/>
              <a:gd name="T14" fmla="*/ 306 w 349"/>
              <a:gd name="T15" fmla="*/ 236 h 350"/>
              <a:gd name="T16" fmla="*/ 317 w 349"/>
              <a:gd name="T17" fmla="*/ 260 h 350"/>
              <a:gd name="T18" fmla="*/ 307 w 349"/>
              <a:gd name="T19" fmla="*/ 286 h 350"/>
              <a:gd name="T20" fmla="*/ 279 w 349"/>
              <a:gd name="T21" fmla="*/ 283 h 350"/>
              <a:gd name="T22" fmla="*/ 258 w 349"/>
              <a:gd name="T23" fmla="*/ 294 h 350"/>
              <a:gd name="T24" fmla="*/ 256 w 349"/>
              <a:gd name="T25" fmla="*/ 321 h 350"/>
              <a:gd name="T26" fmla="*/ 233 w 349"/>
              <a:gd name="T27" fmla="*/ 337 h 350"/>
              <a:gd name="T28" fmla="*/ 212 w 349"/>
              <a:gd name="T29" fmla="*/ 322 h 350"/>
              <a:gd name="T30" fmla="*/ 187 w 349"/>
              <a:gd name="T31" fmla="*/ 320 h 350"/>
              <a:gd name="T32" fmla="*/ 171 w 349"/>
              <a:gd name="T33" fmla="*/ 343 h 350"/>
              <a:gd name="T34" fmla="*/ 140 w 349"/>
              <a:gd name="T35" fmla="*/ 346 h 350"/>
              <a:gd name="T36" fmla="*/ 133 w 349"/>
              <a:gd name="T37" fmla="*/ 324 h 350"/>
              <a:gd name="T38" fmla="*/ 113 w 349"/>
              <a:gd name="T39" fmla="*/ 308 h 350"/>
              <a:gd name="T40" fmla="*/ 87 w 349"/>
              <a:gd name="T41" fmla="*/ 321 h 350"/>
              <a:gd name="T42" fmla="*/ 61 w 349"/>
              <a:gd name="T43" fmla="*/ 307 h 350"/>
              <a:gd name="T44" fmla="*/ 65 w 349"/>
              <a:gd name="T45" fmla="*/ 283 h 350"/>
              <a:gd name="T46" fmla="*/ 53 w 349"/>
              <a:gd name="T47" fmla="*/ 258 h 350"/>
              <a:gd name="T48" fmla="*/ 28 w 349"/>
              <a:gd name="T49" fmla="*/ 255 h 350"/>
              <a:gd name="T50" fmla="*/ 8 w 349"/>
              <a:gd name="T51" fmla="*/ 233 h 350"/>
              <a:gd name="T52" fmla="*/ 25 w 349"/>
              <a:gd name="T53" fmla="*/ 211 h 350"/>
              <a:gd name="T54" fmla="*/ 28 w 349"/>
              <a:gd name="T55" fmla="*/ 189 h 350"/>
              <a:gd name="T56" fmla="*/ 7 w 349"/>
              <a:gd name="T57" fmla="*/ 170 h 350"/>
              <a:gd name="T58" fmla="*/ 2 w 349"/>
              <a:gd name="T59" fmla="*/ 142 h 350"/>
              <a:gd name="T60" fmla="*/ 28 w 349"/>
              <a:gd name="T61" fmla="*/ 131 h 350"/>
              <a:gd name="T62" fmla="*/ 41 w 349"/>
              <a:gd name="T63" fmla="*/ 113 h 350"/>
              <a:gd name="T64" fmla="*/ 29 w 349"/>
              <a:gd name="T65" fmla="*/ 88 h 350"/>
              <a:gd name="T66" fmla="*/ 39 w 349"/>
              <a:gd name="T67" fmla="*/ 62 h 350"/>
              <a:gd name="T68" fmla="*/ 66 w 349"/>
              <a:gd name="T69" fmla="*/ 65 h 350"/>
              <a:gd name="T70" fmla="*/ 79 w 349"/>
              <a:gd name="T71" fmla="*/ 62 h 350"/>
              <a:gd name="T72" fmla="*/ 97 w 349"/>
              <a:gd name="T73" fmla="*/ 17 h 350"/>
              <a:gd name="T74" fmla="*/ 124 w 349"/>
              <a:gd name="T75" fmla="*/ 13 h 350"/>
              <a:gd name="T76" fmla="*/ 148 w 349"/>
              <a:gd name="T77" fmla="*/ 31 h 350"/>
              <a:gd name="T78" fmla="*/ 172 w 349"/>
              <a:gd name="T79" fmla="*/ 21 h 350"/>
              <a:gd name="T80" fmla="*/ 187 w 349"/>
              <a:gd name="T81" fmla="*/ 0 h 350"/>
              <a:gd name="T82" fmla="*/ 214 w 349"/>
              <a:gd name="T83" fmla="*/ 11 h 350"/>
              <a:gd name="T84" fmla="*/ 225 w 349"/>
              <a:gd name="T85" fmla="*/ 38 h 350"/>
              <a:gd name="T86" fmla="*/ 248 w 349"/>
              <a:gd name="T87" fmla="*/ 40 h 350"/>
              <a:gd name="T88" fmla="*/ 273 w 349"/>
              <a:gd name="T89" fmla="*/ 31 h 350"/>
              <a:gd name="T90" fmla="*/ 288 w 349"/>
              <a:gd name="T91" fmla="*/ 55 h 350"/>
              <a:gd name="T92" fmla="*/ 283 w 349"/>
              <a:gd name="T93" fmla="*/ 76 h 350"/>
              <a:gd name="T94" fmla="*/ 301 w 349"/>
              <a:gd name="T95" fmla="*/ 94 h 350"/>
              <a:gd name="T96" fmla="*/ 62 w 349"/>
              <a:gd name="T97" fmla="*/ 174 h 350"/>
              <a:gd name="T98" fmla="*/ 285 w 349"/>
              <a:gd name="T99" fmla="*/ 174 h 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49" h="350">
                <a:moveTo>
                  <a:pt x="301" y="94"/>
                </a:moveTo>
                <a:cubicBezTo>
                  <a:pt x="308" y="93"/>
                  <a:pt x="314" y="92"/>
                  <a:pt x="320" y="91"/>
                </a:cubicBezTo>
                <a:cubicBezTo>
                  <a:pt x="324" y="90"/>
                  <a:pt x="328" y="92"/>
                  <a:pt x="330" y="96"/>
                </a:cubicBezTo>
                <a:cubicBezTo>
                  <a:pt x="332" y="102"/>
                  <a:pt x="335" y="109"/>
                  <a:pt x="337" y="115"/>
                </a:cubicBezTo>
                <a:cubicBezTo>
                  <a:pt x="339" y="119"/>
                  <a:pt x="337" y="122"/>
                  <a:pt x="335" y="125"/>
                </a:cubicBezTo>
                <a:cubicBezTo>
                  <a:pt x="331" y="128"/>
                  <a:pt x="327" y="130"/>
                  <a:pt x="323" y="133"/>
                </a:cubicBezTo>
                <a:cubicBezTo>
                  <a:pt x="317" y="138"/>
                  <a:pt x="316" y="141"/>
                  <a:pt x="317" y="149"/>
                </a:cubicBezTo>
                <a:cubicBezTo>
                  <a:pt x="318" y="151"/>
                  <a:pt x="318" y="154"/>
                  <a:pt x="318" y="157"/>
                </a:cubicBezTo>
                <a:cubicBezTo>
                  <a:pt x="318" y="168"/>
                  <a:pt x="324" y="173"/>
                  <a:pt x="333" y="176"/>
                </a:cubicBezTo>
                <a:cubicBezTo>
                  <a:pt x="335" y="176"/>
                  <a:pt x="336" y="177"/>
                  <a:pt x="338" y="177"/>
                </a:cubicBezTo>
                <a:cubicBezTo>
                  <a:pt x="349" y="182"/>
                  <a:pt x="347" y="184"/>
                  <a:pt x="346" y="194"/>
                </a:cubicBezTo>
                <a:cubicBezTo>
                  <a:pt x="346" y="199"/>
                  <a:pt x="345" y="203"/>
                  <a:pt x="344" y="208"/>
                </a:cubicBezTo>
                <a:cubicBezTo>
                  <a:pt x="343" y="212"/>
                  <a:pt x="340" y="215"/>
                  <a:pt x="336" y="215"/>
                </a:cubicBezTo>
                <a:cubicBezTo>
                  <a:pt x="331" y="216"/>
                  <a:pt x="327" y="216"/>
                  <a:pt x="322" y="217"/>
                </a:cubicBezTo>
                <a:cubicBezTo>
                  <a:pt x="317" y="217"/>
                  <a:pt x="313" y="220"/>
                  <a:pt x="310" y="225"/>
                </a:cubicBezTo>
                <a:cubicBezTo>
                  <a:pt x="309" y="229"/>
                  <a:pt x="308" y="232"/>
                  <a:pt x="306" y="236"/>
                </a:cubicBezTo>
                <a:cubicBezTo>
                  <a:pt x="304" y="241"/>
                  <a:pt x="305" y="245"/>
                  <a:pt x="308" y="249"/>
                </a:cubicBezTo>
                <a:cubicBezTo>
                  <a:pt x="311" y="253"/>
                  <a:pt x="314" y="256"/>
                  <a:pt x="317" y="260"/>
                </a:cubicBezTo>
                <a:cubicBezTo>
                  <a:pt x="321" y="265"/>
                  <a:pt x="321" y="269"/>
                  <a:pt x="317" y="274"/>
                </a:cubicBezTo>
                <a:cubicBezTo>
                  <a:pt x="313" y="278"/>
                  <a:pt x="310" y="282"/>
                  <a:pt x="307" y="286"/>
                </a:cubicBezTo>
                <a:cubicBezTo>
                  <a:pt x="302" y="292"/>
                  <a:pt x="299" y="292"/>
                  <a:pt x="293" y="289"/>
                </a:cubicBezTo>
                <a:cubicBezTo>
                  <a:pt x="288" y="287"/>
                  <a:pt x="284" y="285"/>
                  <a:pt x="279" y="283"/>
                </a:cubicBezTo>
                <a:cubicBezTo>
                  <a:pt x="275" y="282"/>
                  <a:pt x="271" y="284"/>
                  <a:pt x="268" y="286"/>
                </a:cubicBezTo>
                <a:cubicBezTo>
                  <a:pt x="264" y="289"/>
                  <a:pt x="261" y="291"/>
                  <a:pt x="258" y="294"/>
                </a:cubicBezTo>
                <a:cubicBezTo>
                  <a:pt x="254" y="297"/>
                  <a:pt x="253" y="301"/>
                  <a:pt x="254" y="306"/>
                </a:cubicBezTo>
                <a:cubicBezTo>
                  <a:pt x="255" y="311"/>
                  <a:pt x="255" y="316"/>
                  <a:pt x="256" y="321"/>
                </a:cubicBezTo>
                <a:cubicBezTo>
                  <a:pt x="256" y="326"/>
                  <a:pt x="254" y="329"/>
                  <a:pt x="251" y="330"/>
                </a:cubicBezTo>
                <a:cubicBezTo>
                  <a:pt x="245" y="333"/>
                  <a:pt x="239" y="335"/>
                  <a:pt x="233" y="337"/>
                </a:cubicBezTo>
                <a:cubicBezTo>
                  <a:pt x="227" y="339"/>
                  <a:pt x="224" y="338"/>
                  <a:pt x="220" y="333"/>
                </a:cubicBezTo>
                <a:cubicBezTo>
                  <a:pt x="218" y="329"/>
                  <a:pt x="215" y="325"/>
                  <a:pt x="212" y="322"/>
                </a:cubicBezTo>
                <a:cubicBezTo>
                  <a:pt x="209" y="318"/>
                  <a:pt x="205" y="317"/>
                  <a:pt x="201" y="318"/>
                </a:cubicBezTo>
                <a:cubicBezTo>
                  <a:pt x="196" y="318"/>
                  <a:pt x="192" y="319"/>
                  <a:pt x="187" y="320"/>
                </a:cubicBezTo>
                <a:cubicBezTo>
                  <a:pt x="182" y="321"/>
                  <a:pt x="179" y="324"/>
                  <a:pt x="177" y="328"/>
                </a:cubicBezTo>
                <a:cubicBezTo>
                  <a:pt x="175" y="333"/>
                  <a:pt x="173" y="338"/>
                  <a:pt x="171" y="343"/>
                </a:cubicBezTo>
                <a:cubicBezTo>
                  <a:pt x="169" y="347"/>
                  <a:pt x="167" y="350"/>
                  <a:pt x="162" y="349"/>
                </a:cubicBezTo>
                <a:cubicBezTo>
                  <a:pt x="155" y="348"/>
                  <a:pt x="147" y="348"/>
                  <a:pt x="140" y="346"/>
                </a:cubicBezTo>
                <a:cubicBezTo>
                  <a:pt x="137" y="345"/>
                  <a:pt x="135" y="341"/>
                  <a:pt x="134" y="338"/>
                </a:cubicBezTo>
                <a:cubicBezTo>
                  <a:pt x="133" y="333"/>
                  <a:pt x="133" y="328"/>
                  <a:pt x="133" y="324"/>
                </a:cubicBezTo>
                <a:cubicBezTo>
                  <a:pt x="132" y="318"/>
                  <a:pt x="129" y="313"/>
                  <a:pt x="123" y="312"/>
                </a:cubicBezTo>
                <a:cubicBezTo>
                  <a:pt x="119" y="310"/>
                  <a:pt x="116" y="309"/>
                  <a:pt x="113" y="308"/>
                </a:cubicBezTo>
                <a:cubicBezTo>
                  <a:pt x="108" y="306"/>
                  <a:pt x="104" y="307"/>
                  <a:pt x="101" y="310"/>
                </a:cubicBezTo>
                <a:cubicBezTo>
                  <a:pt x="96" y="314"/>
                  <a:pt x="92" y="317"/>
                  <a:pt x="87" y="321"/>
                </a:cubicBezTo>
                <a:cubicBezTo>
                  <a:pt x="84" y="323"/>
                  <a:pt x="81" y="323"/>
                  <a:pt x="78" y="320"/>
                </a:cubicBezTo>
                <a:cubicBezTo>
                  <a:pt x="72" y="316"/>
                  <a:pt x="66" y="312"/>
                  <a:pt x="61" y="307"/>
                </a:cubicBezTo>
                <a:cubicBezTo>
                  <a:pt x="57" y="304"/>
                  <a:pt x="58" y="299"/>
                  <a:pt x="60" y="295"/>
                </a:cubicBezTo>
                <a:cubicBezTo>
                  <a:pt x="62" y="291"/>
                  <a:pt x="63" y="287"/>
                  <a:pt x="65" y="283"/>
                </a:cubicBezTo>
                <a:cubicBezTo>
                  <a:pt x="67" y="278"/>
                  <a:pt x="66" y="274"/>
                  <a:pt x="64" y="271"/>
                </a:cubicBezTo>
                <a:cubicBezTo>
                  <a:pt x="60" y="266"/>
                  <a:pt x="57" y="262"/>
                  <a:pt x="53" y="258"/>
                </a:cubicBezTo>
                <a:cubicBezTo>
                  <a:pt x="51" y="254"/>
                  <a:pt x="47" y="253"/>
                  <a:pt x="43" y="253"/>
                </a:cubicBezTo>
                <a:cubicBezTo>
                  <a:pt x="38" y="254"/>
                  <a:pt x="33" y="254"/>
                  <a:pt x="28" y="255"/>
                </a:cubicBezTo>
                <a:cubicBezTo>
                  <a:pt x="22" y="257"/>
                  <a:pt x="18" y="255"/>
                  <a:pt x="15" y="249"/>
                </a:cubicBezTo>
                <a:cubicBezTo>
                  <a:pt x="13" y="244"/>
                  <a:pt x="10" y="239"/>
                  <a:pt x="8" y="233"/>
                </a:cubicBezTo>
                <a:cubicBezTo>
                  <a:pt x="6" y="229"/>
                  <a:pt x="7" y="225"/>
                  <a:pt x="11" y="222"/>
                </a:cubicBezTo>
                <a:cubicBezTo>
                  <a:pt x="15" y="218"/>
                  <a:pt x="20" y="214"/>
                  <a:pt x="25" y="211"/>
                </a:cubicBezTo>
                <a:cubicBezTo>
                  <a:pt x="29" y="208"/>
                  <a:pt x="30" y="204"/>
                  <a:pt x="30" y="199"/>
                </a:cubicBezTo>
                <a:cubicBezTo>
                  <a:pt x="29" y="195"/>
                  <a:pt x="28" y="192"/>
                  <a:pt x="28" y="189"/>
                </a:cubicBezTo>
                <a:cubicBezTo>
                  <a:pt x="28" y="180"/>
                  <a:pt x="23" y="176"/>
                  <a:pt x="16" y="174"/>
                </a:cubicBezTo>
                <a:cubicBezTo>
                  <a:pt x="13" y="173"/>
                  <a:pt x="10" y="171"/>
                  <a:pt x="7" y="170"/>
                </a:cubicBezTo>
                <a:cubicBezTo>
                  <a:pt x="2" y="169"/>
                  <a:pt x="0" y="166"/>
                  <a:pt x="0" y="162"/>
                </a:cubicBezTo>
                <a:cubicBezTo>
                  <a:pt x="1" y="155"/>
                  <a:pt x="1" y="149"/>
                  <a:pt x="2" y="142"/>
                </a:cubicBezTo>
                <a:cubicBezTo>
                  <a:pt x="2" y="136"/>
                  <a:pt x="5" y="134"/>
                  <a:pt x="11" y="133"/>
                </a:cubicBezTo>
                <a:cubicBezTo>
                  <a:pt x="17" y="132"/>
                  <a:pt x="23" y="132"/>
                  <a:pt x="28" y="131"/>
                </a:cubicBezTo>
                <a:cubicBezTo>
                  <a:pt x="32" y="130"/>
                  <a:pt x="35" y="128"/>
                  <a:pt x="36" y="124"/>
                </a:cubicBezTo>
                <a:cubicBezTo>
                  <a:pt x="38" y="120"/>
                  <a:pt x="40" y="117"/>
                  <a:pt x="41" y="113"/>
                </a:cubicBezTo>
                <a:cubicBezTo>
                  <a:pt x="42" y="109"/>
                  <a:pt x="42" y="105"/>
                  <a:pt x="39" y="101"/>
                </a:cubicBezTo>
                <a:cubicBezTo>
                  <a:pt x="36" y="97"/>
                  <a:pt x="32" y="93"/>
                  <a:pt x="29" y="88"/>
                </a:cubicBezTo>
                <a:cubicBezTo>
                  <a:pt x="26" y="84"/>
                  <a:pt x="26" y="80"/>
                  <a:pt x="29" y="76"/>
                </a:cubicBezTo>
                <a:cubicBezTo>
                  <a:pt x="32" y="71"/>
                  <a:pt x="36" y="66"/>
                  <a:pt x="39" y="62"/>
                </a:cubicBezTo>
                <a:cubicBezTo>
                  <a:pt x="42" y="57"/>
                  <a:pt x="46" y="56"/>
                  <a:pt x="52" y="58"/>
                </a:cubicBezTo>
                <a:cubicBezTo>
                  <a:pt x="57" y="60"/>
                  <a:pt x="62" y="62"/>
                  <a:pt x="66" y="65"/>
                </a:cubicBezTo>
                <a:cubicBezTo>
                  <a:pt x="70" y="67"/>
                  <a:pt x="74" y="66"/>
                  <a:pt x="77" y="64"/>
                </a:cubicBezTo>
                <a:cubicBezTo>
                  <a:pt x="78" y="63"/>
                  <a:pt x="79" y="63"/>
                  <a:pt x="79" y="62"/>
                </a:cubicBezTo>
                <a:cubicBezTo>
                  <a:pt x="94" y="51"/>
                  <a:pt x="94" y="51"/>
                  <a:pt x="90" y="30"/>
                </a:cubicBezTo>
                <a:cubicBezTo>
                  <a:pt x="89" y="23"/>
                  <a:pt x="91" y="20"/>
                  <a:pt x="97" y="17"/>
                </a:cubicBezTo>
                <a:cubicBezTo>
                  <a:pt x="102" y="15"/>
                  <a:pt x="107" y="13"/>
                  <a:pt x="112" y="11"/>
                </a:cubicBezTo>
                <a:cubicBezTo>
                  <a:pt x="117" y="8"/>
                  <a:pt x="120" y="9"/>
                  <a:pt x="124" y="13"/>
                </a:cubicBezTo>
                <a:cubicBezTo>
                  <a:pt x="127" y="17"/>
                  <a:pt x="130" y="22"/>
                  <a:pt x="133" y="26"/>
                </a:cubicBezTo>
                <a:cubicBezTo>
                  <a:pt x="138" y="31"/>
                  <a:pt x="142" y="32"/>
                  <a:pt x="148" y="31"/>
                </a:cubicBezTo>
                <a:cubicBezTo>
                  <a:pt x="152" y="29"/>
                  <a:pt x="156" y="29"/>
                  <a:pt x="160" y="29"/>
                </a:cubicBezTo>
                <a:cubicBezTo>
                  <a:pt x="166" y="28"/>
                  <a:pt x="170" y="26"/>
                  <a:pt x="172" y="21"/>
                </a:cubicBezTo>
                <a:cubicBezTo>
                  <a:pt x="173" y="16"/>
                  <a:pt x="175" y="11"/>
                  <a:pt x="177" y="6"/>
                </a:cubicBezTo>
                <a:cubicBezTo>
                  <a:pt x="179" y="2"/>
                  <a:pt x="182" y="0"/>
                  <a:pt x="187" y="0"/>
                </a:cubicBezTo>
                <a:cubicBezTo>
                  <a:pt x="194" y="1"/>
                  <a:pt x="201" y="2"/>
                  <a:pt x="208" y="3"/>
                </a:cubicBezTo>
                <a:cubicBezTo>
                  <a:pt x="212" y="3"/>
                  <a:pt x="214" y="6"/>
                  <a:pt x="214" y="11"/>
                </a:cubicBezTo>
                <a:cubicBezTo>
                  <a:pt x="215" y="17"/>
                  <a:pt x="216" y="23"/>
                  <a:pt x="217" y="29"/>
                </a:cubicBezTo>
                <a:cubicBezTo>
                  <a:pt x="218" y="34"/>
                  <a:pt x="221" y="36"/>
                  <a:pt x="225" y="38"/>
                </a:cubicBezTo>
                <a:cubicBezTo>
                  <a:pt x="228" y="39"/>
                  <a:pt x="231" y="40"/>
                  <a:pt x="234" y="41"/>
                </a:cubicBezTo>
                <a:cubicBezTo>
                  <a:pt x="239" y="45"/>
                  <a:pt x="244" y="43"/>
                  <a:pt x="248" y="40"/>
                </a:cubicBezTo>
                <a:cubicBezTo>
                  <a:pt x="252" y="37"/>
                  <a:pt x="256" y="34"/>
                  <a:pt x="259" y="31"/>
                </a:cubicBezTo>
                <a:cubicBezTo>
                  <a:pt x="264" y="27"/>
                  <a:pt x="268" y="27"/>
                  <a:pt x="273" y="31"/>
                </a:cubicBezTo>
                <a:cubicBezTo>
                  <a:pt x="277" y="34"/>
                  <a:pt x="281" y="37"/>
                  <a:pt x="285" y="41"/>
                </a:cubicBezTo>
                <a:cubicBezTo>
                  <a:pt x="290" y="45"/>
                  <a:pt x="291" y="49"/>
                  <a:pt x="288" y="55"/>
                </a:cubicBezTo>
                <a:cubicBezTo>
                  <a:pt x="286" y="59"/>
                  <a:pt x="284" y="64"/>
                  <a:pt x="283" y="68"/>
                </a:cubicBezTo>
                <a:cubicBezTo>
                  <a:pt x="282" y="71"/>
                  <a:pt x="282" y="74"/>
                  <a:pt x="283" y="76"/>
                </a:cubicBezTo>
                <a:cubicBezTo>
                  <a:pt x="286" y="81"/>
                  <a:pt x="290" y="86"/>
                  <a:pt x="295" y="91"/>
                </a:cubicBezTo>
                <a:cubicBezTo>
                  <a:pt x="296" y="93"/>
                  <a:pt x="299" y="93"/>
                  <a:pt x="301" y="94"/>
                </a:cubicBezTo>
                <a:close/>
                <a:moveTo>
                  <a:pt x="174" y="63"/>
                </a:moveTo>
                <a:cubicBezTo>
                  <a:pt x="112" y="63"/>
                  <a:pt x="62" y="113"/>
                  <a:pt x="62" y="174"/>
                </a:cubicBezTo>
                <a:cubicBezTo>
                  <a:pt x="62" y="236"/>
                  <a:pt x="112" y="285"/>
                  <a:pt x="173" y="286"/>
                </a:cubicBezTo>
                <a:cubicBezTo>
                  <a:pt x="235" y="286"/>
                  <a:pt x="285" y="236"/>
                  <a:pt x="285" y="174"/>
                </a:cubicBezTo>
                <a:cubicBezTo>
                  <a:pt x="285" y="112"/>
                  <a:pt x="234" y="63"/>
                  <a:pt x="174" y="63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6274" tIns="8138" rIns="16274" bIns="8138" numCol="1" anchor="t" anchorCtr="0" compatLnSpc="1">
            <a:prstTxWarp prst="textNoShape">
              <a:avLst/>
            </a:prstTxWarp>
          </a:bodyPr>
          <a:lstStyle/>
          <a:p>
            <a:endParaRPr lang="en-US" sz="569" dirty="0">
              <a:solidFill>
                <a:prstClr val="black"/>
              </a:solidFill>
            </a:endParaRPr>
          </a:p>
        </p:txBody>
      </p:sp>
      <p:sp>
        <p:nvSpPr>
          <p:cNvPr id="21" name="Freeform 5"/>
          <p:cNvSpPr>
            <a:spLocks noEditPoints="1"/>
          </p:cNvSpPr>
          <p:nvPr/>
        </p:nvSpPr>
        <p:spPr bwMode="auto">
          <a:xfrm>
            <a:off x="6753575" y="1843782"/>
            <a:ext cx="1610167" cy="1528335"/>
          </a:xfrm>
          <a:custGeom>
            <a:avLst/>
            <a:gdLst>
              <a:gd name="T0" fmla="*/ 320 w 349"/>
              <a:gd name="T1" fmla="*/ 91 h 350"/>
              <a:gd name="T2" fmla="*/ 337 w 349"/>
              <a:gd name="T3" fmla="*/ 115 h 350"/>
              <a:gd name="T4" fmla="*/ 323 w 349"/>
              <a:gd name="T5" fmla="*/ 133 h 350"/>
              <a:gd name="T6" fmla="*/ 318 w 349"/>
              <a:gd name="T7" fmla="*/ 157 h 350"/>
              <a:gd name="T8" fmla="*/ 338 w 349"/>
              <a:gd name="T9" fmla="*/ 177 h 350"/>
              <a:gd name="T10" fmla="*/ 344 w 349"/>
              <a:gd name="T11" fmla="*/ 208 h 350"/>
              <a:gd name="T12" fmla="*/ 322 w 349"/>
              <a:gd name="T13" fmla="*/ 217 h 350"/>
              <a:gd name="T14" fmla="*/ 306 w 349"/>
              <a:gd name="T15" fmla="*/ 236 h 350"/>
              <a:gd name="T16" fmla="*/ 317 w 349"/>
              <a:gd name="T17" fmla="*/ 260 h 350"/>
              <a:gd name="T18" fmla="*/ 307 w 349"/>
              <a:gd name="T19" fmla="*/ 286 h 350"/>
              <a:gd name="T20" fmla="*/ 279 w 349"/>
              <a:gd name="T21" fmla="*/ 283 h 350"/>
              <a:gd name="T22" fmla="*/ 258 w 349"/>
              <a:gd name="T23" fmla="*/ 294 h 350"/>
              <a:gd name="T24" fmla="*/ 256 w 349"/>
              <a:gd name="T25" fmla="*/ 321 h 350"/>
              <a:gd name="T26" fmla="*/ 233 w 349"/>
              <a:gd name="T27" fmla="*/ 337 h 350"/>
              <a:gd name="T28" fmla="*/ 212 w 349"/>
              <a:gd name="T29" fmla="*/ 322 h 350"/>
              <a:gd name="T30" fmla="*/ 187 w 349"/>
              <a:gd name="T31" fmla="*/ 320 h 350"/>
              <a:gd name="T32" fmla="*/ 171 w 349"/>
              <a:gd name="T33" fmla="*/ 343 h 350"/>
              <a:gd name="T34" fmla="*/ 140 w 349"/>
              <a:gd name="T35" fmla="*/ 346 h 350"/>
              <a:gd name="T36" fmla="*/ 133 w 349"/>
              <a:gd name="T37" fmla="*/ 324 h 350"/>
              <a:gd name="T38" fmla="*/ 113 w 349"/>
              <a:gd name="T39" fmla="*/ 308 h 350"/>
              <a:gd name="T40" fmla="*/ 87 w 349"/>
              <a:gd name="T41" fmla="*/ 321 h 350"/>
              <a:gd name="T42" fmla="*/ 61 w 349"/>
              <a:gd name="T43" fmla="*/ 307 h 350"/>
              <a:gd name="T44" fmla="*/ 65 w 349"/>
              <a:gd name="T45" fmla="*/ 283 h 350"/>
              <a:gd name="T46" fmla="*/ 53 w 349"/>
              <a:gd name="T47" fmla="*/ 258 h 350"/>
              <a:gd name="T48" fmla="*/ 28 w 349"/>
              <a:gd name="T49" fmla="*/ 255 h 350"/>
              <a:gd name="T50" fmla="*/ 8 w 349"/>
              <a:gd name="T51" fmla="*/ 233 h 350"/>
              <a:gd name="T52" fmla="*/ 25 w 349"/>
              <a:gd name="T53" fmla="*/ 211 h 350"/>
              <a:gd name="T54" fmla="*/ 28 w 349"/>
              <a:gd name="T55" fmla="*/ 189 h 350"/>
              <a:gd name="T56" fmla="*/ 7 w 349"/>
              <a:gd name="T57" fmla="*/ 170 h 350"/>
              <a:gd name="T58" fmla="*/ 2 w 349"/>
              <a:gd name="T59" fmla="*/ 142 h 350"/>
              <a:gd name="T60" fmla="*/ 28 w 349"/>
              <a:gd name="T61" fmla="*/ 131 h 350"/>
              <a:gd name="T62" fmla="*/ 41 w 349"/>
              <a:gd name="T63" fmla="*/ 113 h 350"/>
              <a:gd name="T64" fmla="*/ 29 w 349"/>
              <a:gd name="T65" fmla="*/ 88 h 350"/>
              <a:gd name="T66" fmla="*/ 39 w 349"/>
              <a:gd name="T67" fmla="*/ 62 h 350"/>
              <a:gd name="T68" fmla="*/ 66 w 349"/>
              <a:gd name="T69" fmla="*/ 65 h 350"/>
              <a:gd name="T70" fmla="*/ 79 w 349"/>
              <a:gd name="T71" fmla="*/ 62 h 350"/>
              <a:gd name="T72" fmla="*/ 97 w 349"/>
              <a:gd name="T73" fmla="*/ 17 h 350"/>
              <a:gd name="T74" fmla="*/ 124 w 349"/>
              <a:gd name="T75" fmla="*/ 13 h 350"/>
              <a:gd name="T76" fmla="*/ 148 w 349"/>
              <a:gd name="T77" fmla="*/ 31 h 350"/>
              <a:gd name="T78" fmla="*/ 172 w 349"/>
              <a:gd name="T79" fmla="*/ 21 h 350"/>
              <a:gd name="T80" fmla="*/ 187 w 349"/>
              <a:gd name="T81" fmla="*/ 0 h 350"/>
              <a:gd name="T82" fmla="*/ 214 w 349"/>
              <a:gd name="T83" fmla="*/ 11 h 350"/>
              <a:gd name="T84" fmla="*/ 225 w 349"/>
              <a:gd name="T85" fmla="*/ 38 h 350"/>
              <a:gd name="T86" fmla="*/ 248 w 349"/>
              <a:gd name="T87" fmla="*/ 40 h 350"/>
              <a:gd name="T88" fmla="*/ 273 w 349"/>
              <a:gd name="T89" fmla="*/ 31 h 350"/>
              <a:gd name="T90" fmla="*/ 288 w 349"/>
              <a:gd name="T91" fmla="*/ 55 h 350"/>
              <a:gd name="T92" fmla="*/ 283 w 349"/>
              <a:gd name="T93" fmla="*/ 76 h 350"/>
              <a:gd name="T94" fmla="*/ 301 w 349"/>
              <a:gd name="T95" fmla="*/ 94 h 350"/>
              <a:gd name="T96" fmla="*/ 62 w 349"/>
              <a:gd name="T97" fmla="*/ 174 h 350"/>
              <a:gd name="T98" fmla="*/ 285 w 349"/>
              <a:gd name="T99" fmla="*/ 174 h 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49" h="350">
                <a:moveTo>
                  <a:pt x="301" y="94"/>
                </a:moveTo>
                <a:cubicBezTo>
                  <a:pt x="308" y="93"/>
                  <a:pt x="314" y="92"/>
                  <a:pt x="320" y="91"/>
                </a:cubicBezTo>
                <a:cubicBezTo>
                  <a:pt x="324" y="90"/>
                  <a:pt x="328" y="92"/>
                  <a:pt x="330" y="96"/>
                </a:cubicBezTo>
                <a:cubicBezTo>
                  <a:pt x="332" y="102"/>
                  <a:pt x="335" y="109"/>
                  <a:pt x="337" y="115"/>
                </a:cubicBezTo>
                <a:cubicBezTo>
                  <a:pt x="339" y="119"/>
                  <a:pt x="337" y="122"/>
                  <a:pt x="335" y="125"/>
                </a:cubicBezTo>
                <a:cubicBezTo>
                  <a:pt x="331" y="128"/>
                  <a:pt x="327" y="130"/>
                  <a:pt x="323" y="133"/>
                </a:cubicBezTo>
                <a:cubicBezTo>
                  <a:pt x="317" y="138"/>
                  <a:pt x="316" y="141"/>
                  <a:pt x="317" y="149"/>
                </a:cubicBezTo>
                <a:cubicBezTo>
                  <a:pt x="318" y="151"/>
                  <a:pt x="318" y="154"/>
                  <a:pt x="318" y="157"/>
                </a:cubicBezTo>
                <a:cubicBezTo>
                  <a:pt x="318" y="168"/>
                  <a:pt x="324" y="173"/>
                  <a:pt x="333" y="176"/>
                </a:cubicBezTo>
                <a:cubicBezTo>
                  <a:pt x="335" y="176"/>
                  <a:pt x="336" y="177"/>
                  <a:pt x="338" y="177"/>
                </a:cubicBezTo>
                <a:cubicBezTo>
                  <a:pt x="349" y="182"/>
                  <a:pt x="347" y="184"/>
                  <a:pt x="346" y="194"/>
                </a:cubicBezTo>
                <a:cubicBezTo>
                  <a:pt x="346" y="199"/>
                  <a:pt x="345" y="203"/>
                  <a:pt x="344" y="208"/>
                </a:cubicBezTo>
                <a:cubicBezTo>
                  <a:pt x="343" y="212"/>
                  <a:pt x="340" y="215"/>
                  <a:pt x="336" y="215"/>
                </a:cubicBezTo>
                <a:cubicBezTo>
                  <a:pt x="331" y="216"/>
                  <a:pt x="327" y="216"/>
                  <a:pt x="322" y="217"/>
                </a:cubicBezTo>
                <a:cubicBezTo>
                  <a:pt x="317" y="217"/>
                  <a:pt x="313" y="220"/>
                  <a:pt x="310" y="225"/>
                </a:cubicBezTo>
                <a:cubicBezTo>
                  <a:pt x="309" y="229"/>
                  <a:pt x="308" y="232"/>
                  <a:pt x="306" y="236"/>
                </a:cubicBezTo>
                <a:cubicBezTo>
                  <a:pt x="304" y="241"/>
                  <a:pt x="305" y="245"/>
                  <a:pt x="308" y="249"/>
                </a:cubicBezTo>
                <a:cubicBezTo>
                  <a:pt x="311" y="253"/>
                  <a:pt x="314" y="256"/>
                  <a:pt x="317" y="260"/>
                </a:cubicBezTo>
                <a:cubicBezTo>
                  <a:pt x="321" y="265"/>
                  <a:pt x="321" y="269"/>
                  <a:pt x="317" y="274"/>
                </a:cubicBezTo>
                <a:cubicBezTo>
                  <a:pt x="313" y="278"/>
                  <a:pt x="310" y="282"/>
                  <a:pt x="307" y="286"/>
                </a:cubicBezTo>
                <a:cubicBezTo>
                  <a:pt x="302" y="292"/>
                  <a:pt x="299" y="292"/>
                  <a:pt x="293" y="289"/>
                </a:cubicBezTo>
                <a:cubicBezTo>
                  <a:pt x="288" y="287"/>
                  <a:pt x="284" y="285"/>
                  <a:pt x="279" y="283"/>
                </a:cubicBezTo>
                <a:cubicBezTo>
                  <a:pt x="275" y="282"/>
                  <a:pt x="271" y="284"/>
                  <a:pt x="268" y="286"/>
                </a:cubicBezTo>
                <a:cubicBezTo>
                  <a:pt x="264" y="289"/>
                  <a:pt x="261" y="291"/>
                  <a:pt x="258" y="294"/>
                </a:cubicBezTo>
                <a:cubicBezTo>
                  <a:pt x="254" y="297"/>
                  <a:pt x="253" y="301"/>
                  <a:pt x="254" y="306"/>
                </a:cubicBezTo>
                <a:cubicBezTo>
                  <a:pt x="255" y="311"/>
                  <a:pt x="255" y="316"/>
                  <a:pt x="256" y="321"/>
                </a:cubicBezTo>
                <a:cubicBezTo>
                  <a:pt x="256" y="326"/>
                  <a:pt x="254" y="329"/>
                  <a:pt x="251" y="330"/>
                </a:cubicBezTo>
                <a:cubicBezTo>
                  <a:pt x="245" y="333"/>
                  <a:pt x="239" y="335"/>
                  <a:pt x="233" y="337"/>
                </a:cubicBezTo>
                <a:cubicBezTo>
                  <a:pt x="227" y="339"/>
                  <a:pt x="224" y="338"/>
                  <a:pt x="220" y="333"/>
                </a:cubicBezTo>
                <a:cubicBezTo>
                  <a:pt x="218" y="329"/>
                  <a:pt x="215" y="325"/>
                  <a:pt x="212" y="322"/>
                </a:cubicBezTo>
                <a:cubicBezTo>
                  <a:pt x="209" y="318"/>
                  <a:pt x="205" y="317"/>
                  <a:pt x="201" y="318"/>
                </a:cubicBezTo>
                <a:cubicBezTo>
                  <a:pt x="196" y="318"/>
                  <a:pt x="192" y="319"/>
                  <a:pt x="187" y="320"/>
                </a:cubicBezTo>
                <a:cubicBezTo>
                  <a:pt x="182" y="321"/>
                  <a:pt x="179" y="324"/>
                  <a:pt x="177" y="328"/>
                </a:cubicBezTo>
                <a:cubicBezTo>
                  <a:pt x="175" y="333"/>
                  <a:pt x="173" y="338"/>
                  <a:pt x="171" y="343"/>
                </a:cubicBezTo>
                <a:cubicBezTo>
                  <a:pt x="169" y="347"/>
                  <a:pt x="167" y="350"/>
                  <a:pt x="162" y="349"/>
                </a:cubicBezTo>
                <a:cubicBezTo>
                  <a:pt x="155" y="348"/>
                  <a:pt x="147" y="348"/>
                  <a:pt x="140" y="346"/>
                </a:cubicBezTo>
                <a:cubicBezTo>
                  <a:pt x="137" y="345"/>
                  <a:pt x="135" y="341"/>
                  <a:pt x="134" y="338"/>
                </a:cubicBezTo>
                <a:cubicBezTo>
                  <a:pt x="133" y="333"/>
                  <a:pt x="133" y="328"/>
                  <a:pt x="133" y="324"/>
                </a:cubicBezTo>
                <a:cubicBezTo>
                  <a:pt x="132" y="318"/>
                  <a:pt x="129" y="313"/>
                  <a:pt x="123" y="312"/>
                </a:cubicBezTo>
                <a:cubicBezTo>
                  <a:pt x="119" y="310"/>
                  <a:pt x="116" y="309"/>
                  <a:pt x="113" y="308"/>
                </a:cubicBezTo>
                <a:cubicBezTo>
                  <a:pt x="108" y="306"/>
                  <a:pt x="104" y="307"/>
                  <a:pt x="101" y="310"/>
                </a:cubicBezTo>
                <a:cubicBezTo>
                  <a:pt x="96" y="314"/>
                  <a:pt x="92" y="317"/>
                  <a:pt x="87" y="321"/>
                </a:cubicBezTo>
                <a:cubicBezTo>
                  <a:pt x="84" y="323"/>
                  <a:pt x="81" y="323"/>
                  <a:pt x="78" y="320"/>
                </a:cubicBezTo>
                <a:cubicBezTo>
                  <a:pt x="72" y="316"/>
                  <a:pt x="66" y="312"/>
                  <a:pt x="61" y="307"/>
                </a:cubicBezTo>
                <a:cubicBezTo>
                  <a:pt x="57" y="304"/>
                  <a:pt x="58" y="299"/>
                  <a:pt x="60" y="295"/>
                </a:cubicBezTo>
                <a:cubicBezTo>
                  <a:pt x="62" y="291"/>
                  <a:pt x="63" y="287"/>
                  <a:pt x="65" y="283"/>
                </a:cubicBezTo>
                <a:cubicBezTo>
                  <a:pt x="67" y="278"/>
                  <a:pt x="66" y="274"/>
                  <a:pt x="64" y="271"/>
                </a:cubicBezTo>
                <a:cubicBezTo>
                  <a:pt x="60" y="266"/>
                  <a:pt x="57" y="262"/>
                  <a:pt x="53" y="258"/>
                </a:cubicBezTo>
                <a:cubicBezTo>
                  <a:pt x="51" y="254"/>
                  <a:pt x="47" y="253"/>
                  <a:pt x="43" y="253"/>
                </a:cubicBezTo>
                <a:cubicBezTo>
                  <a:pt x="38" y="254"/>
                  <a:pt x="33" y="254"/>
                  <a:pt x="28" y="255"/>
                </a:cubicBezTo>
                <a:cubicBezTo>
                  <a:pt x="22" y="257"/>
                  <a:pt x="18" y="255"/>
                  <a:pt x="15" y="249"/>
                </a:cubicBezTo>
                <a:cubicBezTo>
                  <a:pt x="13" y="244"/>
                  <a:pt x="10" y="239"/>
                  <a:pt x="8" y="233"/>
                </a:cubicBezTo>
                <a:cubicBezTo>
                  <a:pt x="6" y="229"/>
                  <a:pt x="7" y="225"/>
                  <a:pt x="11" y="222"/>
                </a:cubicBezTo>
                <a:cubicBezTo>
                  <a:pt x="15" y="218"/>
                  <a:pt x="20" y="214"/>
                  <a:pt x="25" y="211"/>
                </a:cubicBezTo>
                <a:cubicBezTo>
                  <a:pt x="29" y="208"/>
                  <a:pt x="30" y="204"/>
                  <a:pt x="30" y="199"/>
                </a:cubicBezTo>
                <a:cubicBezTo>
                  <a:pt x="29" y="195"/>
                  <a:pt x="28" y="192"/>
                  <a:pt x="28" y="189"/>
                </a:cubicBezTo>
                <a:cubicBezTo>
                  <a:pt x="28" y="180"/>
                  <a:pt x="23" y="176"/>
                  <a:pt x="16" y="174"/>
                </a:cubicBezTo>
                <a:cubicBezTo>
                  <a:pt x="13" y="173"/>
                  <a:pt x="10" y="171"/>
                  <a:pt x="7" y="170"/>
                </a:cubicBezTo>
                <a:cubicBezTo>
                  <a:pt x="2" y="169"/>
                  <a:pt x="0" y="166"/>
                  <a:pt x="0" y="162"/>
                </a:cubicBezTo>
                <a:cubicBezTo>
                  <a:pt x="1" y="155"/>
                  <a:pt x="1" y="149"/>
                  <a:pt x="2" y="142"/>
                </a:cubicBezTo>
                <a:cubicBezTo>
                  <a:pt x="2" y="136"/>
                  <a:pt x="5" y="134"/>
                  <a:pt x="11" y="133"/>
                </a:cubicBezTo>
                <a:cubicBezTo>
                  <a:pt x="17" y="132"/>
                  <a:pt x="23" y="132"/>
                  <a:pt x="28" y="131"/>
                </a:cubicBezTo>
                <a:cubicBezTo>
                  <a:pt x="32" y="130"/>
                  <a:pt x="35" y="128"/>
                  <a:pt x="36" y="124"/>
                </a:cubicBezTo>
                <a:cubicBezTo>
                  <a:pt x="38" y="120"/>
                  <a:pt x="40" y="117"/>
                  <a:pt x="41" y="113"/>
                </a:cubicBezTo>
                <a:cubicBezTo>
                  <a:pt x="42" y="109"/>
                  <a:pt x="42" y="105"/>
                  <a:pt x="39" y="101"/>
                </a:cubicBezTo>
                <a:cubicBezTo>
                  <a:pt x="36" y="97"/>
                  <a:pt x="32" y="93"/>
                  <a:pt x="29" y="88"/>
                </a:cubicBezTo>
                <a:cubicBezTo>
                  <a:pt x="26" y="84"/>
                  <a:pt x="26" y="80"/>
                  <a:pt x="29" y="76"/>
                </a:cubicBezTo>
                <a:cubicBezTo>
                  <a:pt x="32" y="71"/>
                  <a:pt x="36" y="66"/>
                  <a:pt x="39" y="62"/>
                </a:cubicBezTo>
                <a:cubicBezTo>
                  <a:pt x="42" y="57"/>
                  <a:pt x="46" y="56"/>
                  <a:pt x="52" y="58"/>
                </a:cubicBezTo>
                <a:cubicBezTo>
                  <a:pt x="57" y="60"/>
                  <a:pt x="62" y="62"/>
                  <a:pt x="66" y="65"/>
                </a:cubicBezTo>
                <a:cubicBezTo>
                  <a:pt x="70" y="67"/>
                  <a:pt x="74" y="66"/>
                  <a:pt x="77" y="64"/>
                </a:cubicBezTo>
                <a:cubicBezTo>
                  <a:pt x="78" y="63"/>
                  <a:pt x="79" y="63"/>
                  <a:pt x="79" y="62"/>
                </a:cubicBezTo>
                <a:cubicBezTo>
                  <a:pt x="94" y="51"/>
                  <a:pt x="94" y="51"/>
                  <a:pt x="90" y="30"/>
                </a:cubicBezTo>
                <a:cubicBezTo>
                  <a:pt x="89" y="23"/>
                  <a:pt x="91" y="20"/>
                  <a:pt x="97" y="17"/>
                </a:cubicBezTo>
                <a:cubicBezTo>
                  <a:pt x="102" y="15"/>
                  <a:pt x="107" y="13"/>
                  <a:pt x="112" y="11"/>
                </a:cubicBezTo>
                <a:cubicBezTo>
                  <a:pt x="117" y="8"/>
                  <a:pt x="120" y="9"/>
                  <a:pt x="124" y="13"/>
                </a:cubicBezTo>
                <a:cubicBezTo>
                  <a:pt x="127" y="17"/>
                  <a:pt x="130" y="22"/>
                  <a:pt x="133" y="26"/>
                </a:cubicBezTo>
                <a:cubicBezTo>
                  <a:pt x="138" y="31"/>
                  <a:pt x="142" y="32"/>
                  <a:pt x="148" y="31"/>
                </a:cubicBezTo>
                <a:cubicBezTo>
                  <a:pt x="152" y="29"/>
                  <a:pt x="156" y="29"/>
                  <a:pt x="160" y="29"/>
                </a:cubicBezTo>
                <a:cubicBezTo>
                  <a:pt x="166" y="28"/>
                  <a:pt x="170" y="26"/>
                  <a:pt x="172" y="21"/>
                </a:cubicBezTo>
                <a:cubicBezTo>
                  <a:pt x="173" y="16"/>
                  <a:pt x="175" y="11"/>
                  <a:pt x="177" y="6"/>
                </a:cubicBezTo>
                <a:cubicBezTo>
                  <a:pt x="179" y="2"/>
                  <a:pt x="182" y="0"/>
                  <a:pt x="187" y="0"/>
                </a:cubicBezTo>
                <a:cubicBezTo>
                  <a:pt x="194" y="1"/>
                  <a:pt x="201" y="2"/>
                  <a:pt x="208" y="3"/>
                </a:cubicBezTo>
                <a:cubicBezTo>
                  <a:pt x="212" y="3"/>
                  <a:pt x="214" y="6"/>
                  <a:pt x="214" y="11"/>
                </a:cubicBezTo>
                <a:cubicBezTo>
                  <a:pt x="215" y="17"/>
                  <a:pt x="216" y="23"/>
                  <a:pt x="217" y="29"/>
                </a:cubicBezTo>
                <a:cubicBezTo>
                  <a:pt x="218" y="34"/>
                  <a:pt x="221" y="36"/>
                  <a:pt x="225" y="38"/>
                </a:cubicBezTo>
                <a:cubicBezTo>
                  <a:pt x="228" y="39"/>
                  <a:pt x="231" y="40"/>
                  <a:pt x="234" y="41"/>
                </a:cubicBezTo>
                <a:cubicBezTo>
                  <a:pt x="239" y="45"/>
                  <a:pt x="244" y="43"/>
                  <a:pt x="248" y="40"/>
                </a:cubicBezTo>
                <a:cubicBezTo>
                  <a:pt x="252" y="37"/>
                  <a:pt x="256" y="34"/>
                  <a:pt x="259" y="31"/>
                </a:cubicBezTo>
                <a:cubicBezTo>
                  <a:pt x="264" y="27"/>
                  <a:pt x="268" y="27"/>
                  <a:pt x="273" y="31"/>
                </a:cubicBezTo>
                <a:cubicBezTo>
                  <a:pt x="277" y="34"/>
                  <a:pt x="281" y="37"/>
                  <a:pt x="285" y="41"/>
                </a:cubicBezTo>
                <a:cubicBezTo>
                  <a:pt x="290" y="45"/>
                  <a:pt x="291" y="49"/>
                  <a:pt x="288" y="55"/>
                </a:cubicBezTo>
                <a:cubicBezTo>
                  <a:pt x="286" y="59"/>
                  <a:pt x="284" y="64"/>
                  <a:pt x="283" y="68"/>
                </a:cubicBezTo>
                <a:cubicBezTo>
                  <a:pt x="282" y="71"/>
                  <a:pt x="282" y="74"/>
                  <a:pt x="283" y="76"/>
                </a:cubicBezTo>
                <a:cubicBezTo>
                  <a:pt x="286" y="81"/>
                  <a:pt x="290" y="86"/>
                  <a:pt x="295" y="91"/>
                </a:cubicBezTo>
                <a:cubicBezTo>
                  <a:pt x="296" y="93"/>
                  <a:pt x="299" y="93"/>
                  <a:pt x="301" y="94"/>
                </a:cubicBezTo>
                <a:close/>
                <a:moveTo>
                  <a:pt x="174" y="63"/>
                </a:moveTo>
                <a:cubicBezTo>
                  <a:pt x="112" y="63"/>
                  <a:pt x="62" y="113"/>
                  <a:pt x="62" y="174"/>
                </a:cubicBezTo>
                <a:cubicBezTo>
                  <a:pt x="62" y="236"/>
                  <a:pt x="112" y="285"/>
                  <a:pt x="173" y="286"/>
                </a:cubicBezTo>
                <a:cubicBezTo>
                  <a:pt x="235" y="286"/>
                  <a:pt x="285" y="236"/>
                  <a:pt x="285" y="174"/>
                </a:cubicBezTo>
                <a:cubicBezTo>
                  <a:pt x="285" y="112"/>
                  <a:pt x="234" y="63"/>
                  <a:pt x="174" y="63"/>
                </a:cubicBezTo>
                <a:close/>
              </a:path>
            </a:pathLst>
          </a:custGeom>
          <a:solidFill>
            <a:srgbClr val="7030A0"/>
          </a:solidFill>
          <a:ln>
            <a:noFill/>
          </a:ln>
        </p:spPr>
        <p:txBody>
          <a:bodyPr vert="horz" wrap="square" lIns="16274" tIns="8138" rIns="16274" bIns="8138" numCol="1" anchor="t" anchorCtr="0" compatLnSpc="1">
            <a:prstTxWarp prst="textNoShape">
              <a:avLst/>
            </a:prstTxWarp>
          </a:bodyPr>
          <a:lstStyle/>
          <a:p>
            <a:endParaRPr lang="en-US" sz="569" dirty="0">
              <a:solidFill>
                <a:prstClr val="black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720327" y="3012098"/>
            <a:ext cx="161294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ru-RU" sz="1600" b="1" dirty="0" smtClean="0">
                <a:latin typeface="Century Gothic" panose="020B0502020202020204" pitchFamily="34" charset="0"/>
              </a:rPr>
              <a:t>Образование</a:t>
            </a:r>
          </a:p>
          <a:p>
            <a:pPr lvl="0" algn="ctr"/>
            <a:r>
              <a:rPr lang="ru-RU" sz="1600" dirty="0" smtClean="0">
                <a:latin typeface="Century Gothic" panose="020B0502020202020204" pitchFamily="34" charset="0"/>
              </a:rPr>
              <a:t>1430,7 </a:t>
            </a:r>
          </a:p>
          <a:p>
            <a:pPr lvl="0" algn="ctr"/>
            <a:r>
              <a:rPr lang="ru-RU" sz="1600" dirty="0" smtClean="0">
                <a:latin typeface="Century Gothic" panose="020B0502020202020204" pitchFamily="34" charset="0"/>
              </a:rPr>
              <a:t>млн. руб.</a:t>
            </a:r>
            <a:endParaRPr lang="ru-RU" sz="1600" dirty="0">
              <a:latin typeface="Century Gothic" panose="020B0502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660535" y="3372117"/>
            <a:ext cx="1343638" cy="116955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ru-RU" sz="1400" b="1" dirty="0">
                <a:latin typeface="Century Gothic" panose="020B0502020202020204" pitchFamily="34" charset="0"/>
              </a:rPr>
              <a:t>Социальная </a:t>
            </a:r>
            <a:endParaRPr lang="en-US" sz="1400" b="1" dirty="0" smtClean="0">
              <a:latin typeface="Century Gothic" panose="020B0502020202020204" pitchFamily="34" charset="0"/>
            </a:endParaRPr>
          </a:p>
          <a:p>
            <a:pPr lvl="0" algn="ctr"/>
            <a:r>
              <a:rPr lang="ru-RU" sz="1400" b="1" dirty="0" smtClean="0">
                <a:latin typeface="Century Gothic" panose="020B0502020202020204" pitchFamily="34" charset="0"/>
              </a:rPr>
              <a:t>поддержка </a:t>
            </a:r>
            <a:endParaRPr lang="en-US" sz="1400" b="1" dirty="0" smtClean="0">
              <a:latin typeface="Century Gothic" panose="020B0502020202020204" pitchFamily="34" charset="0"/>
            </a:endParaRPr>
          </a:p>
          <a:p>
            <a:pPr lvl="0" algn="ctr"/>
            <a:r>
              <a:rPr lang="ru-RU" sz="1400" b="1" dirty="0" smtClean="0">
                <a:latin typeface="Century Gothic" panose="020B0502020202020204" pitchFamily="34" charset="0"/>
              </a:rPr>
              <a:t>граждан</a:t>
            </a:r>
          </a:p>
          <a:p>
            <a:pPr lvl="0" algn="ctr"/>
            <a:r>
              <a:rPr lang="ru-RU" sz="1400" dirty="0" smtClean="0">
                <a:latin typeface="Century Gothic" panose="020B0502020202020204" pitchFamily="34" charset="0"/>
              </a:rPr>
              <a:t>789,6 </a:t>
            </a:r>
          </a:p>
          <a:p>
            <a:pPr lvl="0" algn="ctr"/>
            <a:r>
              <a:rPr lang="ru-RU" sz="1400" dirty="0" smtClean="0">
                <a:latin typeface="Century Gothic" panose="020B0502020202020204" pitchFamily="34" charset="0"/>
              </a:rPr>
              <a:t>млн. руб.</a:t>
            </a:r>
            <a:endParaRPr lang="ru-RU" sz="1400" dirty="0">
              <a:latin typeface="Century Gothic" panose="020B0502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771463" y="3868540"/>
            <a:ext cx="1401593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100" b="1" dirty="0">
                <a:latin typeface="Century Gothic" panose="020B0502020202020204" pitchFamily="34" charset="0"/>
              </a:rPr>
              <a:t>Развитие </a:t>
            </a:r>
            <a:endParaRPr lang="en-US" sz="1100" b="1" dirty="0" smtClean="0">
              <a:latin typeface="Century Gothic" panose="020B0502020202020204" pitchFamily="34" charset="0"/>
            </a:endParaRPr>
          </a:p>
          <a:p>
            <a:pPr lvl="0" algn="ctr"/>
            <a:r>
              <a:rPr lang="ru-RU" sz="1100" b="1" dirty="0" smtClean="0">
                <a:latin typeface="Century Gothic" panose="020B0502020202020204" pitchFamily="34" charset="0"/>
              </a:rPr>
              <a:t>жилищно-коммунального </a:t>
            </a:r>
            <a:endParaRPr lang="en-US" sz="1100" b="1" dirty="0" smtClean="0">
              <a:latin typeface="Century Gothic" panose="020B0502020202020204" pitchFamily="34" charset="0"/>
            </a:endParaRPr>
          </a:p>
          <a:p>
            <a:pPr lvl="0" algn="ctr"/>
            <a:r>
              <a:rPr lang="ru-RU" sz="1100" b="1" dirty="0" smtClean="0">
                <a:latin typeface="Century Gothic" panose="020B0502020202020204" pitchFamily="34" charset="0"/>
              </a:rPr>
              <a:t>хозяйства</a:t>
            </a:r>
          </a:p>
          <a:p>
            <a:pPr lvl="0" algn="ctr"/>
            <a:r>
              <a:rPr lang="ru-RU" sz="1100" dirty="0" smtClean="0">
                <a:latin typeface="Century Gothic" panose="020B0502020202020204" pitchFamily="34" charset="0"/>
              </a:rPr>
              <a:t>596,2 </a:t>
            </a:r>
          </a:p>
          <a:p>
            <a:pPr lvl="0" algn="ctr"/>
            <a:r>
              <a:rPr lang="ru-RU" sz="1100" dirty="0" smtClean="0">
                <a:latin typeface="Century Gothic" panose="020B0502020202020204" pitchFamily="34" charset="0"/>
              </a:rPr>
              <a:t>млн. руб.</a:t>
            </a:r>
            <a:endParaRPr lang="ru-RU" sz="1100" dirty="0">
              <a:latin typeface="Century Gothic" panose="020B0502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600541" y="5009237"/>
            <a:ext cx="1687906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080"/>
              </a:lnSpc>
            </a:pPr>
            <a:r>
              <a:rPr lang="ru-RU" sz="900" b="1" dirty="0">
                <a:latin typeface="Century Gothic" panose="020B0502020202020204" pitchFamily="34" charset="0"/>
              </a:rPr>
              <a:t>Безопасные и </a:t>
            </a:r>
            <a:endParaRPr lang="en-US" sz="900" b="1" dirty="0" smtClean="0">
              <a:latin typeface="Century Gothic" panose="020B0502020202020204" pitchFamily="34" charset="0"/>
            </a:endParaRPr>
          </a:p>
          <a:p>
            <a:pPr lvl="0" algn="ctr">
              <a:lnSpc>
                <a:spcPts val="1080"/>
              </a:lnSpc>
            </a:pPr>
            <a:r>
              <a:rPr lang="ru-RU" sz="900" b="1" dirty="0" smtClean="0">
                <a:latin typeface="Century Gothic" panose="020B0502020202020204" pitchFamily="34" charset="0"/>
              </a:rPr>
              <a:t>качественные </a:t>
            </a:r>
            <a:endParaRPr lang="en-US" sz="900" b="1" dirty="0" smtClean="0">
              <a:latin typeface="Century Gothic" panose="020B0502020202020204" pitchFamily="34" charset="0"/>
            </a:endParaRPr>
          </a:p>
          <a:p>
            <a:pPr lvl="0" algn="ctr">
              <a:lnSpc>
                <a:spcPts val="1080"/>
              </a:lnSpc>
            </a:pPr>
            <a:r>
              <a:rPr lang="ru-RU" sz="900" b="1" dirty="0" smtClean="0">
                <a:latin typeface="Century Gothic" panose="020B0502020202020204" pitchFamily="34" charset="0"/>
              </a:rPr>
              <a:t>автомобильные </a:t>
            </a:r>
            <a:endParaRPr lang="en-US" sz="900" b="1" dirty="0" smtClean="0">
              <a:latin typeface="Century Gothic" panose="020B0502020202020204" pitchFamily="34" charset="0"/>
            </a:endParaRPr>
          </a:p>
          <a:p>
            <a:pPr lvl="0" algn="ctr">
              <a:lnSpc>
                <a:spcPts val="1080"/>
              </a:lnSpc>
            </a:pPr>
            <a:r>
              <a:rPr lang="ru-RU" sz="900" b="1" dirty="0" smtClean="0">
                <a:latin typeface="Century Gothic" panose="020B0502020202020204" pitchFamily="34" charset="0"/>
              </a:rPr>
              <a:t>дороги </a:t>
            </a:r>
          </a:p>
          <a:p>
            <a:pPr lvl="0" algn="ctr">
              <a:lnSpc>
                <a:spcPts val="1080"/>
              </a:lnSpc>
            </a:pPr>
            <a:r>
              <a:rPr lang="ru-RU" sz="900" dirty="0" smtClean="0">
                <a:latin typeface="Century Gothic" panose="020B0502020202020204" pitchFamily="34" charset="0"/>
              </a:rPr>
              <a:t>304,0 </a:t>
            </a:r>
          </a:p>
          <a:p>
            <a:pPr lvl="0" algn="ctr">
              <a:lnSpc>
                <a:spcPts val="1080"/>
              </a:lnSpc>
            </a:pPr>
            <a:r>
              <a:rPr lang="ru-RU" sz="900" dirty="0" smtClean="0">
                <a:latin typeface="Century Gothic" panose="020B0502020202020204" pitchFamily="34" charset="0"/>
              </a:rPr>
              <a:t>млн. руб.</a:t>
            </a:r>
            <a:endParaRPr lang="ru-RU" sz="900" dirty="0">
              <a:latin typeface="Century Gothic" panose="020B0502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538278" y="5014203"/>
            <a:ext cx="90601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ru-RU" sz="1200" b="1" dirty="0" smtClean="0">
                <a:latin typeface="Century Gothic" panose="020B0502020202020204" pitchFamily="34" charset="0"/>
              </a:rPr>
              <a:t>Культура</a:t>
            </a:r>
          </a:p>
          <a:p>
            <a:pPr lvl="0" algn="ctr"/>
            <a:r>
              <a:rPr lang="ru-RU" sz="1200" dirty="0" smtClean="0">
                <a:latin typeface="Century Gothic" panose="020B0502020202020204" pitchFamily="34" charset="0"/>
              </a:rPr>
              <a:t>92,1 </a:t>
            </a:r>
          </a:p>
          <a:p>
            <a:pPr lvl="0" algn="ctr"/>
            <a:r>
              <a:rPr lang="ru-RU" sz="1200" dirty="0" smtClean="0">
                <a:latin typeface="Century Gothic" panose="020B0502020202020204" pitchFamily="34" charset="0"/>
              </a:rPr>
              <a:t>млн. руб.</a:t>
            </a:r>
            <a:endParaRPr lang="ru-RU" sz="1200" dirty="0">
              <a:latin typeface="Century Gothic" panose="020B0502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846562" y="2174233"/>
            <a:ext cx="1397838" cy="9551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900" b="1" dirty="0">
                <a:latin typeface="Century Gothic" panose="020B0502020202020204" pitchFamily="34" charset="0"/>
              </a:rPr>
              <a:t>Развитие </a:t>
            </a:r>
            <a:endParaRPr lang="en-US" sz="900" b="1" dirty="0" smtClean="0">
              <a:latin typeface="Century Gothic" panose="020B0502020202020204" pitchFamily="34" charset="0"/>
            </a:endParaRPr>
          </a:p>
          <a:p>
            <a:pPr lvl="0" algn="ctr"/>
            <a:r>
              <a:rPr lang="ru-RU" sz="900" b="1" dirty="0" smtClean="0">
                <a:latin typeface="Century Gothic" panose="020B0502020202020204" pitchFamily="34" charset="0"/>
              </a:rPr>
              <a:t>физической </a:t>
            </a:r>
            <a:endParaRPr lang="en-US" sz="900" b="1" dirty="0" smtClean="0">
              <a:latin typeface="Century Gothic" panose="020B0502020202020204" pitchFamily="34" charset="0"/>
            </a:endParaRPr>
          </a:p>
          <a:p>
            <a:pPr lvl="0" algn="ctr"/>
            <a:r>
              <a:rPr lang="ru-RU" sz="900" b="1" dirty="0">
                <a:latin typeface="Century Gothic" panose="020B0502020202020204" pitchFamily="34" charset="0"/>
              </a:rPr>
              <a:t>к</a:t>
            </a:r>
            <a:r>
              <a:rPr lang="ru-RU" sz="900" b="1" dirty="0" smtClean="0">
                <a:latin typeface="Century Gothic" panose="020B0502020202020204" pitchFamily="34" charset="0"/>
              </a:rPr>
              <a:t>ультуры</a:t>
            </a:r>
            <a:endParaRPr lang="en-US" sz="900" b="1" dirty="0" smtClean="0">
              <a:latin typeface="Century Gothic" panose="020B0502020202020204" pitchFamily="34" charset="0"/>
            </a:endParaRPr>
          </a:p>
          <a:p>
            <a:pPr lvl="0" algn="ctr"/>
            <a:r>
              <a:rPr lang="ru-RU" sz="900" b="1" dirty="0" smtClean="0">
                <a:latin typeface="Century Gothic" panose="020B0502020202020204" pitchFamily="34" charset="0"/>
              </a:rPr>
              <a:t> </a:t>
            </a:r>
            <a:r>
              <a:rPr lang="ru-RU" sz="900" b="1" dirty="0">
                <a:latin typeface="Century Gothic" panose="020B0502020202020204" pitchFamily="34" charset="0"/>
              </a:rPr>
              <a:t>и </a:t>
            </a:r>
            <a:r>
              <a:rPr lang="ru-RU" sz="900" b="1" dirty="0" smtClean="0">
                <a:latin typeface="Century Gothic" panose="020B0502020202020204" pitchFamily="34" charset="0"/>
              </a:rPr>
              <a:t>спорта</a:t>
            </a:r>
          </a:p>
          <a:p>
            <a:pPr lvl="0" algn="ctr"/>
            <a:r>
              <a:rPr lang="ru-RU" sz="900" dirty="0" smtClean="0">
                <a:latin typeface="Century Gothic" panose="020B0502020202020204" pitchFamily="34" charset="0"/>
              </a:rPr>
              <a:t>58,0</a:t>
            </a:r>
          </a:p>
          <a:p>
            <a:pPr lvl="0" algn="ctr"/>
            <a:r>
              <a:rPr lang="ru-RU" sz="900" dirty="0" smtClean="0">
                <a:latin typeface="Century Gothic" panose="020B0502020202020204" pitchFamily="34" charset="0"/>
              </a:rPr>
              <a:t>млн. руб.</a:t>
            </a:r>
            <a:endParaRPr lang="ru-RU" sz="900" dirty="0">
              <a:latin typeface="Century Gothic" panose="020B0502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389712" y="4800709"/>
            <a:ext cx="10294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ru-RU" sz="800" b="1" dirty="0">
                <a:latin typeface="Century Gothic" panose="020B0502020202020204" pitchFamily="34" charset="0"/>
              </a:rPr>
              <a:t>Развитие </a:t>
            </a:r>
            <a:endParaRPr lang="ru-RU" sz="800" b="1" dirty="0" smtClean="0">
              <a:latin typeface="Century Gothic" panose="020B0502020202020204" pitchFamily="34" charset="0"/>
            </a:endParaRPr>
          </a:p>
          <a:p>
            <a:pPr lvl="0" algn="ctr"/>
            <a:r>
              <a:rPr lang="ru-RU" sz="800" b="1" dirty="0" smtClean="0">
                <a:latin typeface="Century Gothic" panose="020B0502020202020204" pitchFamily="34" charset="0"/>
              </a:rPr>
              <a:t>муниципальной </a:t>
            </a:r>
          </a:p>
          <a:p>
            <a:pPr lvl="0" algn="ctr"/>
            <a:r>
              <a:rPr lang="ru-RU" sz="800" b="1" dirty="0" smtClean="0">
                <a:latin typeface="Century Gothic" panose="020B0502020202020204" pitchFamily="34" charset="0"/>
              </a:rPr>
              <a:t>службы</a:t>
            </a:r>
            <a:endParaRPr lang="ru-RU" sz="800" b="1" dirty="0">
              <a:latin typeface="Century Gothic" panose="020B0502020202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396210" y="5600250"/>
            <a:ext cx="129248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700" b="1" dirty="0">
                <a:latin typeface="Century Gothic" panose="020B0502020202020204" pitchFamily="34" charset="0"/>
              </a:rPr>
              <a:t>Межнациональные </a:t>
            </a:r>
            <a:endParaRPr lang="ru-RU" sz="700" b="1" dirty="0" smtClean="0">
              <a:latin typeface="Century Gothic" panose="020B0502020202020204" pitchFamily="34" charset="0"/>
            </a:endParaRPr>
          </a:p>
          <a:p>
            <a:pPr lvl="0" algn="ctr"/>
            <a:r>
              <a:rPr lang="ru-RU" sz="700" b="1" dirty="0" smtClean="0">
                <a:latin typeface="Century Gothic" panose="020B0502020202020204" pitchFamily="34" charset="0"/>
              </a:rPr>
              <a:t>отношения </a:t>
            </a:r>
            <a:r>
              <a:rPr lang="ru-RU" sz="700" b="1" dirty="0">
                <a:latin typeface="Century Gothic" panose="020B0502020202020204" pitchFamily="34" charset="0"/>
              </a:rPr>
              <a:t>и </a:t>
            </a:r>
            <a:endParaRPr lang="ru-RU" sz="700" b="1" dirty="0" smtClean="0">
              <a:latin typeface="Century Gothic" panose="020B0502020202020204" pitchFamily="34" charset="0"/>
            </a:endParaRPr>
          </a:p>
          <a:p>
            <a:pPr lvl="0" algn="ctr"/>
            <a:r>
              <a:rPr lang="ru-RU" sz="700" b="1" dirty="0" smtClean="0">
                <a:latin typeface="Century Gothic" panose="020B0502020202020204" pitchFamily="34" charset="0"/>
              </a:rPr>
              <a:t>поддержка </a:t>
            </a:r>
          </a:p>
          <a:p>
            <a:pPr lvl="0" algn="ctr"/>
            <a:r>
              <a:rPr lang="ru-RU" sz="700" b="1" dirty="0" smtClean="0">
                <a:latin typeface="Century Gothic" panose="020B0502020202020204" pitchFamily="34" charset="0"/>
              </a:rPr>
              <a:t>казачества</a:t>
            </a:r>
            <a:endParaRPr lang="ru-RU" sz="700" b="1" dirty="0">
              <a:latin typeface="Century Gothic" panose="020B050202020202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6556380" y="5726131"/>
            <a:ext cx="1212407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700" b="1" dirty="0" smtClean="0">
                <a:latin typeface="Century Gothic" panose="020B0502020202020204" pitchFamily="34" charset="0"/>
              </a:rPr>
              <a:t>Формирование</a:t>
            </a:r>
          </a:p>
          <a:p>
            <a:pPr lvl="0" algn="ctr"/>
            <a:r>
              <a:rPr lang="ru-RU" sz="700" b="1" dirty="0" smtClean="0">
                <a:latin typeface="Century Gothic" panose="020B0502020202020204" pitchFamily="34" charset="0"/>
              </a:rPr>
              <a:t> </a:t>
            </a:r>
            <a:r>
              <a:rPr lang="ru-RU" sz="700" b="1" dirty="0">
                <a:latin typeface="Century Gothic" panose="020B0502020202020204" pitchFamily="34" charset="0"/>
              </a:rPr>
              <a:t>современной </a:t>
            </a:r>
            <a:endParaRPr lang="ru-RU" sz="700" b="1" dirty="0" smtClean="0">
              <a:latin typeface="Century Gothic" panose="020B0502020202020204" pitchFamily="34" charset="0"/>
            </a:endParaRPr>
          </a:p>
          <a:p>
            <a:pPr lvl="0" algn="ctr"/>
            <a:r>
              <a:rPr lang="ru-RU" sz="700" b="1" dirty="0" smtClean="0">
                <a:latin typeface="Century Gothic" panose="020B0502020202020204" pitchFamily="34" charset="0"/>
              </a:rPr>
              <a:t>городской </a:t>
            </a:r>
            <a:r>
              <a:rPr lang="ru-RU" sz="700" b="1" dirty="0">
                <a:latin typeface="Century Gothic" panose="020B0502020202020204" pitchFamily="34" charset="0"/>
              </a:rPr>
              <a:t>среды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3347865" y="2014708"/>
            <a:ext cx="1144318" cy="4618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600" b="1" dirty="0">
                <a:latin typeface="Century Gothic" panose="020B0502020202020204" pitchFamily="34" charset="0"/>
              </a:rPr>
              <a:t>Поддержка </a:t>
            </a:r>
            <a:endParaRPr lang="ru-RU" sz="600" b="1" dirty="0" smtClean="0">
              <a:latin typeface="Century Gothic" panose="020B0502020202020204" pitchFamily="34" charset="0"/>
            </a:endParaRPr>
          </a:p>
          <a:p>
            <a:pPr lvl="0" algn="ctr"/>
            <a:r>
              <a:rPr lang="ru-RU" sz="600" b="1" dirty="0" smtClean="0">
                <a:latin typeface="Century Gothic" panose="020B0502020202020204" pitchFamily="34" charset="0"/>
              </a:rPr>
              <a:t>субъектов </a:t>
            </a:r>
          </a:p>
          <a:p>
            <a:pPr lvl="0" algn="ctr"/>
            <a:r>
              <a:rPr lang="ru-RU" sz="600" b="1" dirty="0" smtClean="0">
                <a:latin typeface="Century Gothic" panose="020B0502020202020204" pitchFamily="34" charset="0"/>
              </a:rPr>
              <a:t>малого и </a:t>
            </a:r>
            <a:r>
              <a:rPr lang="ru-RU" sz="600" b="1" dirty="0">
                <a:latin typeface="Century Gothic" panose="020B0502020202020204" pitchFamily="34" charset="0"/>
              </a:rPr>
              <a:t>среднего </a:t>
            </a:r>
            <a:endParaRPr lang="ru-RU" sz="600" b="1" dirty="0" smtClean="0">
              <a:latin typeface="Century Gothic" panose="020B0502020202020204" pitchFamily="34" charset="0"/>
            </a:endParaRPr>
          </a:p>
          <a:p>
            <a:pPr lvl="0" algn="ctr"/>
            <a:r>
              <a:rPr lang="ru-RU" sz="600" b="1" dirty="0" smtClean="0">
                <a:latin typeface="Century Gothic" panose="020B0502020202020204" pitchFamily="34" charset="0"/>
              </a:rPr>
              <a:t>предпринимательства</a:t>
            </a:r>
            <a:endParaRPr lang="ru-RU" sz="600" b="1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8815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qfJVaw7kaPdZOuyHOI1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YNgSsR2UyJvhT5eZIzb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8z15cxFE.TM.rznaFtL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8z15cxFE.TM.rznaFtL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3vuTSfCkOCt7RTS_gqS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C3IB9SfES.j14PMlvt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WF1a3p20GEFac5bSrxM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NfQyh85Uu_fVlHqiJho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uwj6w_wUyd43otmCUB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CxTDx7LvEqTpidhD2zWf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5VlX.ya10.KXPGxi4VK_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5VlX.ya10.KXPGxi4VK_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uwj6w_wUyd43otmCUBf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WF1a3p20GEFac5bSrxM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3vuTSfCkOCt7RTS_gqS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tUSddf00OWGkXI3BvGY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D1OJhv2kyzZgnm1vAQa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n2aLQtJUSgy25t.VUj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ig200Q0kCtYubjdWST1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de7fDr5k6MuAAe6jnq8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XeJy06.k.8VUan8iM0C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cl6SbGHU6e9XQ13XhZn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qfJVaw7kaPdZOuyHOI1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WF1a3p20GEFac5bSrx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tUSddf00OWGkXI3BvGY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NfQyh85Uu_fVlHqiJho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uwj6w_wUyd43otmCUBf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CxTDx7LvEqTpidhD2zWf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5VlX.ya10.KXPGxi4VK_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5VlX.ya10.KXPGxi4VK_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twuZF2y0SIgrirDjY8Y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twuZF2y0SIgrirDjY8Y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twuZF2y0SIgrirDjY8Y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C3IB9SfES.j14PMlvtx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PxWLyXUydPpB9o1Xk2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D1OJhv2kyzZgnm1vAQa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PxWLyXUydPpB9o1Xk2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PxWLyXUydPpB9o1Xk2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PxWLyXUydPpB9o1Xk2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PxWLyXUydPpB9o1Xk2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PxWLyXUydPpB9o1Xk2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PxWLyXUydPpB9o1Xk2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PxWLyXUydPpB9o1Xk2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PxWLyXUydPpB9o1Xk2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PxWLyXUydPpB9o1Xk2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n2aLQtJUSgy25t.VUjw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PxWLyXUydPpB9o1Xk2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PxWLyXUydPpB9o1Xk2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PxWLyXUydPpB9o1Xk2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C3IB9SfES.j14PMlvtx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R4oTTg0kiqC6y6pWW17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H7x0zMF02yZ4C2bNOWT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o.uaaoQE.ELgnXg93yg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xbCBSEa0uRDhMC3ED7x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k9E__n5kOlR5Gt1iw.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ig200Q0kCtYubjdWST1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mkm6_bvEGpZLHoYNMBC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nCLhyb_0iOnUsrvI22n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nCLhyb_0iOnUsrvI22n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nCLhyb_0iOnUsrvI22n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H7x0zMF02yZ4C2bNOWT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o.uaaoQE.ELgnXg93yg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xbCBSEa0uRDhMC3ED7x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k9E__n5kOlR5Gt1iw.A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twuZF2y0SIgrirDjY8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de7fDr5k6MuAAe6jnq8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twuZF2y0SIgrirDjY8Y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zdr1NktXkutmdh5YKllk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E5kHx1XUWUzoWLelWVi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YNgSsR2UyJvhT5eZIzb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Ruh.c4Q02jwfYHmDdBP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Xbjqz8W0e_rdE0SnQve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QZdJ0zsUmj2Gc1YIQE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XeJy06.k.8VUan8iM0C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I9z0IpJ0ml.PApm7NvF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8xRJG_70yzGGD1YvVGa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roKsy5YUOANk0t7KajJ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fRVSYg70uLkbZ9GHlsR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dUw3V220GD9U5vQTvZQ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GK1mjJF0CUULSGg45nt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3SaLRFf06VxoTy_kcwA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_Z9E0cJ0Orilti4rah5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r0U28b7EWGEG0eQWLi2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bNE30A4UibIj.GTD_N8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cl6SbGHU6e9XQ13XhZn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AyM2BhF0iAg8Rb1.lqy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82pUk.HECIl7RnakaIn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dkfYmCukC_TBNUSBadq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I9z0IpJ0ml.PApm7NvF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YNgSsR2UyJvhT5eZIzb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YNgSsR2UyJvhT5eZIzb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YNgSsR2UyJvhT5eZIzb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YNgSsR2UyJvhT5eZIzb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YNgSsR2UyJvhT5eZIzbA"/>
</p:tagLst>
</file>

<file path=ppt/theme/theme1.xml><?xml version="1.0" encoding="utf-8"?>
<a:theme xmlns:a="http://schemas.openxmlformats.org/drawingml/2006/main" name="Тема Office">
  <a:themeElements>
    <a:clrScheme name="Другая 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EBF680"/>
      </a:accent1>
      <a:accent2>
        <a:srgbClr val="E74C3C"/>
      </a:accent2>
      <a:accent3>
        <a:srgbClr val="16A085"/>
      </a:accent3>
      <a:accent4>
        <a:srgbClr val="2C3E50"/>
      </a:accent4>
      <a:accent5>
        <a:srgbClr val="ECF0F1"/>
      </a:accent5>
      <a:accent6>
        <a:srgbClr val="6AB0AA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303</TotalTime>
  <Words>956</Words>
  <Application>Microsoft Office PowerPoint</Application>
  <PresentationFormat>Экран (4:3)</PresentationFormat>
  <Paragraphs>453</Paragraphs>
  <Slides>13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3" baseType="lpstr">
      <vt:lpstr>Arial</vt:lpstr>
      <vt:lpstr>Calibri</vt:lpstr>
      <vt:lpstr>Candara</vt:lpstr>
      <vt:lpstr>Century Gothic</vt:lpstr>
      <vt:lpstr>Courier New</vt:lpstr>
      <vt:lpstr>Garamond</vt:lpstr>
      <vt:lpstr>Tahoma</vt:lpstr>
      <vt:lpstr>Times New Roman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Губернаторская программа поддержки  местных  инициатив</vt:lpstr>
      <vt:lpstr>Программная структура расходов  бюджета города на 2021 год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Прищепа Ирина Валерьевна</dc:creator>
  <cp:lastModifiedBy>Пользователь Windows</cp:lastModifiedBy>
  <cp:revision>1453</cp:revision>
  <cp:lastPrinted>2020-12-14T06:00:15Z</cp:lastPrinted>
  <dcterms:created xsi:type="dcterms:W3CDTF">2016-10-21T06:16:50Z</dcterms:created>
  <dcterms:modified xsi:type="dcterms:W3CDTF">2021-03-12T09:43:57Z</dcterms:modified>
</cp:coreProperties>
</file>